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1" r:id="rId4"/>
  </p:sldMasterIdLst>
  <p:notesMasterIdLst>
    <p:notesMasterId r:id="rId20"/>
  </p:notesMasterIdLst>
  <p:sldIdLst>
    <p:sldId id="343" r:id="rId5"/>
    <p:sldId id="349" r:id="rId6"/>
    <p:sldId id="324" r:id="rId7"/>
    <p:sldId id="325" r:id="rId8"/>
    <p:sldId id="326" r:id="rId9"/>
    <p:sldId id="330" r:id="rId10"/>
    <p:sldId id="332" r:id="rId11"/>
    <p:sldId id="334" r:id="rId12"/>
    <p:sldId id="335" r:id="rId13"/>
    <p:sldId id="327" r:id="rId14"/>
    <p:sldId id="336" r:id="rId15"/>
    <p:sldId id="328" r:id="rId16"/>
    <p:sldId id="341" r:id="rId17"/>
    <p:sldId id="342" r:id="rId18"/>
    <p:sldId id="345"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RI CHARAN SANGEM" initials="HCS" lastIdx="3" clrIdx="0">
    <p:extLst>
      <p:ext uri="{19B8F6BF-5375-455C-9EA6-DF929625EA0E}">
        <p15:presenceInfo xmlns:p15="http://schemas.microsoft.com/office/powerpoint/2012/main" userId="HARI CHARAN SANGEM" providerId="None"/>
      </p:ext>
    </p:extLst>
  </p:cmAuthor>
  <p:cmAuthor id="2" name="ANANTHA KRISHNAN" initials="AK" lastIdx="3" clrIdx="1">
    <p:extLst>
      <p:ext uri="{19B8F6BF-5375-455C-9EA6-DF929625EA0E}">
        <p15:presenceInfo xmlns:p15="http://schemas.microsoft.com/office/powerpoint/2012/main" userId="ANANTHA KRISHN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47" autoAdjust="0"/>
    <p:restoredTop sz="95033" autoAdjust="0"/>
  </p:normalViewPr>
  <p:slideViewPr>
    <p:cSldViewPr snapToGrid="0">
      <p:cViewPr varScale="1">
        <p:scale>
          <a:sx n="82" d="100"/>
          <a:sy n="82" d="100"/>
        </p:scale>
        <p:origin x="715" y="72"/>
      </p:cViewPr>
      <p:guideLst/>
    </p:cSldViewPr>
  </p:slideViewPr>
  <p:notesTextViewPr>
    <p:cViewPr>
      <p:scale>
        <a:sx n="1" d="1"/>
        <a:sy n="1" d="1"/>
      </p:scale>
      <p:origin x="0" y="0"/>
    </p:cViewPr>
  </p:notesTextViewPr>
  <p:sorterViewPr>
    <p:cViewPr>
      <p:scale>
        <a:sx n="100" d="100"/>
        <a:sy n="100" d="100"/>
      </p:scale>
      <p:origin x="0" y="-7589"/>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134FAB-8DF1-47CB-B1E8-E70A1C01AB8D}"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096F9748-9BAF-4D0A-B0C3-98A176860DAB}">
      <dgm:prSet phldrT="[Text]"/>
      <dgm:spPr/>
      <dgm:t>
        <a:bodyPr/>
        <a:lstStyle/>
        <a:p>
          <a:r>
            <a:rPr lang="en-US" dirty="0"/>
            <a:t>FOSS License</a:t>
          </a:r>
        </a:p>
      </dgm:t>
    </dgm:pt>
    <dgm:pt modelId="{B5EE4564-6B57-4BBC-A2AB-BC1D888E9799}" type="parTrans" cxnId="{5D18B461-9819-4A18-95B1-645AD6B9031B}">
      <dgm:prSet/>
      <dgm:spPr/>
      <dgm:t>
        <a:bodyPr/>
        <a:lstStyle/>
        <a:p>
          <a:endParaRPr lang="en-US"/>
        </a:p>
      </dgm:t>
    </dgm:pt>
    <dgm:pt modelId="{7F7CE1EB-719F-4762-BC30-1E1CDF3B3235}" type="sibTrans" cxnId="{5D18B461-9819-4A18-95B1-645AD6B9031B}">
      <dgm:prSet/>
      <dgm:spPr/>
      <dgm:t>
        <a:bodyPr/>
        <a:lstStyle/>
        <a:p>
          <a:endParaRPr lang="en-US"/>
        </a:p>
      </dgm:t>
    </dgm:pt>
    <dgm:pt modelId="{563168DE-FBF0-4B1D-BB55-336AB23A937E}">
      <dgm:prSet phldrT="[Text]"/>
      <dgm:spPr>
        <a:solidFill>
          <a:schemeClr val="accent6">
            <a:lumMod val="75000"/>
          </a:schemeClr>
        </a:solidFill>
      </dgm:spPr>
      <dgm:t>
        <a:bodyPr/>
        <a:lstStyle/>
        <a:p>
          <a:r>
            <a:rPr lang="en-US" dirty="0"/>
            <a:t>Permissive</a:t>
          </a:r>
        </a:p>
      </dgm:t>
    </dgm:pt>
    <dgm:pt modelId="{2DA76F73-49CC-4E2E-871D-A1EACC922F48}" type="parTrans" cxnId="{2F8792F5-4A67-49FF-9136-8E7394ECA298}">
      <dgm:prSet/>
      <dgm:spPr/>
      <dgm:t>
        <a:bodyPr/>
        <a:lstStyle/>
        <a:p>
          <a:endParaRPr lang="en-US"/>
        </a:p>
      </dgm:t>
    </dgm:pt>
    <dgm:pt modelId="{0E3218D5-64A2-466D-A5DF-4F8F8D2BCFB5}" type="sibTrans" cxnId="{2F8792F5-4A67-49FF-9136-8E7394ECA298}">
      <dgm:prSet/>
      <dgm:spPr/>
      <dgm:t>
        <a:bodyPr/>
        <a:lstStyle/>
        <a:p>
          <a:endParaRPr lang="en-US"/>
        </a:p>
      </dgm:t>
    </dgm:pt>
    <dgm:pt modelId="{C2178FF1-E55F-4B0A-B207-CFF464636C72}">
      <dgm:prSet phldrT="[Text]"/>
      <dgm:spPr>
        <a:solidFill>
          <a:srgbClr val="FFC000"/>
        </a:solidFill>
      </dgm:spPr>
      <dgm:t>
        <a:bodyPr/>
        <a:lstStyle/>
        <a:p>
          <a:r>
            <a:rPr lang="en-US" dirty="0"/>
            <a:t>Weak Copyleft</a:t>
          </a:r>
        </a:p>
      </dgm:t>
    </dgm:pt>
    <dgm:pt modelId="{292C5919-2C0D-4209-BF98-8E6EC66D10C8}" type="parTrans" cxnId="{7895CFFC-7BEE-4ED4-8CC2-44F2D4DF5CCD}">
      <dgm:prSet/>
      <dgm:spPr/>
      <dgm:t>
        <a:bodyPr/>
        <a:lstStyle/>
        <a:p>
          <a:endParaRPr lang="en-US"/>
        </a:p>
      </dgm:t>
    </dgm:pt>
    <dgm:pt modelId="{270F630D-12C5-45EC-B697-F7F90A604514}" type="sibTrans" cxnId="{7895CFFC-7BEE-4ED4-8CC2-44F2D4DF5CCD}">
      <dgm:prSet/>
      <dgm:spPr/>
      <dgm:t>
        <a:bodyPr/>
        <a:lstStyle/>
        <a:p>
          <a:endParaRPr lang="en-US"/>
        </a:p>
      </dgm:t>
    </dgm:pt>
    <dgm:pt modelId="{2E69855E-B5FD-4BF8-801B-B800360558CD}">
      <dgm:prSet phldrT="[Text]"/>
      <dgm:spPr>
        <a:solidFill>
          <a:srgbClr val="FF0000"/>
        </a:solidFill>
      </dgm:spPr>
      <dgm:t>
        <a:bodyPr/>
        <a:lstStyle/>
        <a:p>
          <a:r>
            <a:rPr lang="en-US" dirty="0"/>
            <a:t>Strong Copyleft</a:t>
          </a:r>
        </a:p>
      </dgm:t>
    </dgm:pt>
    <dgm:pt modelId="{6AC710C1-45C1-414E-93ED-1A70C2E6B3C4}" type="parTrans" cxnId="{6942DB16-C110-4C65-A5EB-BA3DDCFAAA8B}">
      <dgm:prSet/>
      <dgm:spPr/>
      <dgm:t>
        <a:bodyPr/>
        <a:lstStyle/>
        <a:p>
          <a:endParaRPr lang="en-US"/>
        </a:p>
      </dgm:t>
    </dgm:pt>
    <dgm:pt modelId="{54BC257D-7E2A-4F27-9421-2965A5309086}" type="sibTrans" cxnId="{6942DB16-C110-4C65-A5EB-BA3DDCFAAA8B}">
      <dgm:prSet/>
      <dgm:spPr/>
      <dgm:t>
        <a:bodyPr/>
        <a:lstStyle/>
        <a:p>
          <a:endParaRPr lang="en-US"/>
        </a:p>
      </dgm:t>
    </dgm:pt>
    <dgm:pt modelId="{4458C0E9-D7A7-478D-AA0B-9DE01B69E6F8}" type="pres">
      <dgm:prSet presAssocID="{4B134FAB-8DF1-47CB-B1E8-E70A1C01AB8D}" presName="hierChild1" presStyleCnt="0">
        <dgm:presLayoutVars>
          <dgm:orgChart val="1"/>
          <dgm:chPref val="1"/>
          <dgm:dir/>
          <dgm:animOne val="branch"/>
          <dgm:animLvl val="lvl"/>
          <dgm:resizeHandles/>
        </dgm:presLayoutVars>
      </dgm:prSet>
      <dgm:spPr/>
    </dgm:pt>
    <dgm:pt modelId="{8E6350A9-68B8-4559-AD28-2424BF6F7D98}" type="pres">
      <dgm:prSet presAssocID="{096F9748-9BAF-4D0A-B0C3-98A176860DAB}" presName="hierRoot1" presStyleCnt="0">
        <dgm:presLayoutVars>
          <dgm:hierBranch val="init"/>
        </dgm:presLayoutVars>
      </dgm:prSet>
      <dgm:spPr/>
    </dgm:pt>
    <dgm:pt modelId="{648243D9-C6E8-41E1-85CE-A4136B9A8070}" type="pres">
      <dgm:prSet presAssocID="{096F9748-9BAF-4D0A-B0C3-98A176860DAB}" presName="rootComposite1" presStyleCnt="0"/>
      <dgm:spPr/>
    </dgm:pt>
    <dgm:pt modelId="{852A5A81-DE61-4A04-B6CD-91B9A2823FA6}" type="pres">
      <dgm:prSet presAssocID="{096F9748-9BAF-4D0A-B0C3-98A176860DAB}" presName="rootText1" presStyleLbl="node0" presStyleIdx="0" presStyleCnt="1">
        <dgm:presLayoutVars>
          <dgm:chPref val="3"/>
        </dgm:presLayoutVars>
      </dgm:prSet>
      <dgm:spPr/>
    </dgm:pt>
    <dgm:pt modelId="{B509C290-AD22-46AA-8A72-94C7B069B86A}" type="pres">
      <dgm:prSet presAssocID="{096F9748-9BAF-4D0A-B0C3-98A176860DAB}" presName="rootConnector1" presStyleLbl="node1" presStyleIdx="0" presStyleCnt="0"/>
      <dgm:spPr/>
    </dgm:pt>
    <dgm:pt modelId="{260BCCDF-6D36-47CD-91C7-3F3DDD4E1C22}" type="pres">
      <dgm:prSet presAssocID="{096F9748-9BAF-4D0A-B0C3-98A176860DAB}" presName="hierChild2" presStyleCnt="0"/>
      <dgm:spPr/>
    </dgm:pt>
    <dgm:pt modelId="{D7B612D6-2A3C-4193-A014-D56E0A022887}" type="pres">
      <dgm:prSet presAssocID="{2DA76F73-49CC-4E2E-871D-A1EACC922F48}" presName="Name37" presStyleLbl="parChTrans1D2" presStyleIdx="0" presStyleCnt="3"/>
      <dgm:spPr/>
    </dgm:pt>
    <dgm:pt modelId="{00ABDD1E-E729-4BE7-81CD-670388ED615C}" type="pres">
      <dgm:prSet presAssocID="{563168DE-FBF0-4B1D-BB55-336AB23A937E}" presName="hierRoot2" presStyleCnt="0">
        <dgm:presLayoutVars>
          <dgm:hierBranch val="init"/>
        </dgm:presLayoutVars>
      </dgm:prSet>
      <dgm:spPr/>
    </dgm:pt>
    <dgm:pt modelId="{BEF40562-89E3-4881-8985-7B992A4A06D9}" type="pres">
      <dgm:prSet presAssocID="{563168DE-FBF0-4B1D-BB55-336AB23A937E}" presName="rootComposite" presStyleCnt="0"/>
      <dgm:spPr/>
    </dgm:pt>
    <dgm:pt modelId="{625EEB6B-73C6-4375-BCF5-5C93C85D43FB}" type="pres">
      <dgm:prSet presAssocID="{563168DE-FBF0-4B1D-BB55-336AB23A937E}" presName="rootText" presStyleLbl="node2" presStyleIdx="0" presStyleCnt="3">
        <dgm:presLayoutVars>
          <dgm:chPref val="3"/>
        </dgm:presLayoutVars>
      </dgm:prSet>
      <dgm:spPr/>
    </dgm:pt>
    <dgm:pt modelId="{322551FD-CC34-4006-B084-E9786E812137}" type="pres">
      <dgm:prSet presAssocID="{563168DE-FBF0-4B1D-BB55-336AB23A937E}" presName="rootConnector" presStyleLbl="node2" presStyleIdx="0" presStyleCnt="3"/>
      <dgm:spPr/>
    </dgm:pt>
    <dgm:pt modelId="{CE5C97A4-90EE-45CF-A634-3BB36D44744C}" type="pres">
      <dgm:prSet presAssocID="{563168DE-FBF0-4B1D-BB55-336AB23A937E}" presName="hierChild4" presStyleCnt="0"/>
      <dgm:spPr/>
    </dgm:pt>
    <dgm:pt modelId="{F8E751A9-0951-440E-941E-AA88C6B1C194}" type="pres">
      <dgm:prSet presAssocID="{563168DE-FBF0-4B1D-BB55-336AB23A937E}" presName="hierChild5" presStyleCnt="0"/>
      <dgm:spPr/>
    </dgm:pt>
    <dgm:pt modelId="{93500559-4249-41E6-B94C-3C02E9B9ECF6}" type="pres">
      <dgm:prSet presAssocID="{292C5919-2C0D-4209-BF98-8E6EC66D10C8}" presName="Name37" presStyleLbl="parChTrans1D2" presStyleIdx="1" presStyleCnt="3"/>
      <dgm:spPr/>
    </dgm:pt>
    <dgm:pt modelId="{21DFDD72-DD9A-4D54-9BE7-3BD44D9F493A}" type="pres">
      <dgm:prSet presAssocID="{C2178FF1-E55F-4B0A-B207-CFF464636C72}" presName="hierRoot2" presStyleCnt="0">
        <dgm:presLayoutVars>
          <dgm:hierBranch val="init"/>
        </dgm:presLayoutVars>
      </dgm:prSet>
      <dgm:spPr/>
    </dgm:pt>
    <dgm:pt modelId="{69C7D9F9-B6AD-478D-A085-8460E4C3CE1E}" type="pres">
      <dgm:prSet presAssocID="{C2178FF1-E55F-4B0A-B207-CFF464636C72}" presName="rootComposite" presStyleCnt="0"/>
      <dgm:spPr/>
    </dgm:pt>
    <dgm:pt modelId="{4DBD9A14-04F6-4800-931E-22BDA1262509}" type="pres">
      <dgm:prSet presAssocID="{C2178FF1-E55F-4B0A-B207-CFF464636C72}" presName="rootText" presStyleLbl="node2" presStyleIdx="1" presStyleCnt="3">
        <dgm:presLayoutVars>
          <dgm:chPref val="3"/>
        </dgm:presLayoutVars>
      </dgm:prSet>
      <dgm:spPr/>
    </dgm:pt>
    <dgm:pt modelId="{491B121E-B2B8-45CA-BDEE-CA45067F17AD}" type="pres">
      <dgm:prSet presAssocID="{C2178FF1-E55F-4B0A-B207-CFF464636C72}" presName="rootConnector" presStyleLbl="node2" presStyleIdx="1" presStyleCnt="3"/>
      <dgm:spPr/>
    </dgm:pt>
    <dgm:pt modelId="{33FA24CD-C580-47C2-BB69-C549B90CF80F}" type="pres">
      <dgm:prSet presAssocID="{C2178FF1-E55F-4B0A-B207-CFF464636C72}" presName="hierChild4" presStyleCnt="0"/>
      <dgm:spPr/>
    </dgm:pt>
    <dgm:pt modelId="{02C87A56-514D-40A6-A1A9-F766D18A6E90}" type="pres">
      <dgm:prSet presAssocID="{C2178FF1-E55F-4B0A-B207-CFF464636C72}" presName="hierChild5" presStyleCnt="0"/>
      <dgm:spPr/>
    </dgm:pt>
    <dgm:pt modelId="{78CA90C1-5B61-4695-9E29-961D2496143E}" type="pres">
      <dgm:prSet presAssocID="{6AC710C1-45C1-414E-93ED-1A70C2E6B3C4}" presName="Name37" presStyleLbl="parChTrans1D2" presStyleIdx="2" presStyleCnt="3"/>
      <dgm:spPr/>
    </dgm:pt>
    <dgm:pt modelId="{0982B7CC-E4FF-48F9-88C1-58E27E3A2288}" type="pres">
      <dgm:prSet presAssocID="{2E69855E-B5FD-4BF8-801B-B800360558CD}" presName="hierRoot2" presStyleCnt="0">
        <dgm:presLayoutVars>
          <dgm:hierBranch val="init"/>
        </dgm:presLayoutVars>
      </dgm:prSet>
      <dgm:spPr/>
    </dgm:pt>
    <dgm:pt modelId="{26C98C72-DBA2-44EB-B54B-E5189357277C}" type="pres">
      <dgm:prSet presAssocID="{2E69855E-B5FD-4BF8-801B-B800360558CD}" presName="rootComposite" presStyleCnt="0"/>
      <dgm:spPr/>
    </dgm:pt>
    <dgm:pt modelId="{3EAB3DBC-8321-43BB-98AE-ABA99E2E4F2C}" type="pres">
      <dgm:prSet presAssocID="{2E69855E-B5FD-4BF8-801B-B800360558CD}" presName="rootText" presStyleLbl="node2" presStyleIdx="2" presStyleCnt="3">
        <dgm:presLayoutVars>
          <dgm:chPref val="3"/>
        </dgm:presLayoutVars>
      </dgm:prSet>
      <dgm:spPr/>
    </dgm:pt>
    <dgm:pt modelId="{32E617A6-7821-40C0-AECE-9F39AC9332D2}" type="pres">
      <dgm:prSet presAssocID="{2E69855E-B5FD-4BF8-801B-B800360558CD}" presName="rootConnector" presStyleLbl="node2" presStyleIdx="2" presStyleCnt="3"/>
      <dgm:spPr/>
    </dgm:pt>
    <dgm:pt modelId="{E55C8869-8873-4EB0-96A1-82010ED13D28}" type="pres">
      <dgm:prSet presAssocID="{2E69855E-B5FD-4BF8-801B-B800360558CD}" presName="hierChild4" presStyleCnt="0"/>
      <dgm:spPr/>
    </dgm:pt>
    <dgm:pt modelId="{47A1B836-02DD-48D3-AA7A-89ED14686BA8}" type="pres">
      <dgm:prSet presAssocID="{2E69855E-B5FD-4BF8-801B-B800360558CD}" presName="hierChild5" presStyleCnt="0"/>
      <dgm:spPr/>
    </dgm:pt>
    <dgm:pt modelId="{4B9FB8A3-84E6-4B3E-A629-0D27718CC737}" type="pres">
      <dgm:prSet presAssocID="{096F9748-9BAF-4D0A-B0C3-98A176860DAB}" presName="hierChild3" presStyleCnt="0"/>
      <dgm:spPr/>
    </dgm:pt>
  </dgm:ptLst>
  <dgm:cxnLst>
    <dgm:cxn modelId="{6942DB16-C110-4C65-A5EB-BA3DDCFAAA8B}" srcId="{096F9748-9BAF-4D0A-B0C3-98A176860DAB}" destId="{2E69855E-B5FD-4BF8-801B-B800360558CD}" srcOrd="2" destOrd="0" parTransId="{6AC710C1-45C1-414E-93ED-1A70C2E6B3C4}" sibTransId="{54BC257D-7E2A-4F27-9421-2965A5309086}"/>
    <dgm:cxn modelId="{D833552B-2E4D-4764-B4C5-24DB8A2E5865}" type="presOf" srcId="{2E69855E-B5FD-4BF8-801B-B800360558CD}" destId="{3EAB3DBC-8321-43BB-98AE-ABA99E2E4F2C}" srcOrd="0" destOrd="0" presId="urn:microsoft.com/office/officeart/2005/8/layout/orgChart1"/>
    <dgm:cxn modelId="{73D46E37-91C1-4098-BB6D-A7CC1F88C3BD}" type="presOf" srcId="{096F9748-9BAF-4D0A-B0C3-98A176860DAB}" destId="{852A5A81-DE61-4A04-B6CD-91B9A2823FA6}" srcOrd="0" destOrd="0" presId="urn:microsoft.com/office/officeart/2005/8/layout/orgChart1"/>
    <dgm:cxn modelId="{30A6D45D-E4A3-48FC-B744-6D1B8E649069}" type="presOf" srcId="{4B134FAB-8DF1-47CB-B1E8-E70A1C01AB8D}" destId="{4458C0E9-D7A7-478D-AA0B-9DE01B69E6F8}" srcOrd="0" destOrd="0" presId="urn:microsoft.com/office/officeart/2005/8/layout/orgChart1"/>
    <dgm:cxn modelId="{53DA1D5E-2343-4BAE-86B3-03DD64865C01}" type="presOf" srcId="{292C5919-2C0D-4209-BF98-8E6EC66D10C8}" destId="{93500559-4249-41E6-B94C-3C02E9B9ECF6}" srcOrd="0" destOrd="0" presId="urn:microsoft.com/office/officeart/2005/8/layout/orgChart1"/>
    <dgm:cxn modelId="{F4B62241-3BA8-4C61-A168-595B94849D30}" type="presOf" srcId="{096F9748-9BAF-4D0A-B0C3-98A176860DAB}" destId="{B509C290-AD22-46AA-8A72-94C7B069B86A}" srcOrd="1" destOrd="0" presId="urn:microsoft.com/office/officeart/2005/8/layout/orgChart1"/>
    <dgm:cxn modelId="{5D18B461-9819-4A18-95B1-645AD6B9031B}" srcId="{4B134FAB-8DF1-47CB-B1E8-E70A1C01AB8D}" destId="{096F9748-9BAF-4D0A-B0C3-98A176860DAB}" srcOrd="0" destOrd="0" parTransId="{B5EE4564-6B57-4BBC-A2AB-BC1D888E9799}" sibTransId="{7F7CE1EB-719F-4762-BC30-1E1CDF3B3235}"/>
    <dgm:cxn modelId="{2985834C-04E8-4A87-B0DF-C8AEB7E67DAF}" type="presOf" srcId="{6AC710C1-45C1-414E-93ED-1A70C2E6B3C4}" destId="{78CA90C1-5B61-4695-9E29-961D2496143E}" srcOrd="0" destOrd="0" presId="urn:microsoft.com/office/officeart/2005/8/layout/orgChart1"/>
    <dgm:cxn modelId="{22089684-9051-4700-A943-604A16632FB2}" type="presOf" srcId="{2DA76F73-49CC-4E2E-871D-A1EACC922F48}" destId="{D7B612D6-2A3C-4193-A014-D56E0A022887}" srcOrd="0" destOrd="0" presId="urn:microsoft.com/office/officeart/2005/8/layout/orgChart1"/>
    <dgm:cxn modelId="{3425B088-B591-4731-A664-B2FAE0B248D2}" type="presOf" srcId="{C2178FF1-E55F-4B0A-B207-CFF464636C72}" destId="{491B121E-B2B8-45CA-BDEE-CA45067F17AD}" srcOrd="1" destOrd="0" presId="urn:microsoft.com/office/officeart/2005/8/layout/orgChart1"/>
    <dgm:cxn modelId="{0E939D8A-684E-471F-8791-8680F22A616C}" type="presOf" srcId="{563168DE-FBF0-4B1D-BB55-336AB23A937E}" destId="{625EEB6B-73C6-4375-BCF5-5C93C85D43FB}" srcOrd="0" destOrd="0" presId="urn:microsoft.com/office/officeart/2005/8/layout/orgChart1"/>
    <dgm:cxn modelId="{AF8D428E-010A-4320-A75B-42192E20F34A}" type="presOf" srcId="{563168DE-FBF0-4B1D-BB55-336AB23A937E}" destId="{322551FD-CC34-4006-B084-E9786E812137}" srcOrd="1" destOrd="0" presId="urn:microsoft.com/office/officeart/2005/8/layout/orgChart1"/>
    <dgm:cxn modelId="{84C7A7A8-14B8-4AFB-814F-D1D82E4027F4}" type="presOf" srcId="{2E69855E-B5FD-4BF8-801B-B800360558CD}" destId="{32E617A6-7821-40C0-AECE-9F39AC9332D2}" srcOrd="1" destOrd="0" presId="urn:microsoft.com/office/officeart/2005/8/layout/orgChart1"/>
    <dgm:cxn modelId="{5F4F2DB0-B2DC-4C24-BD0E-BA0E2C8EADE2}" type="presOf" srcId="{C2178FF1-E55F-4B0A-B207-CFF464636C72}" destId="{4DBD9A14-04F6-4800-931E-22BDA1262509}" srcOrd="0" destOrd="0" presId="urn:microsoft.com/office/officeart/2005/8/layout/orgChart1"/>
    <dgm:cxn modelId="{2F8792F5-4A67-49FF-9136-8E7394ECA298}" srcId="{096F9748-9BAF-4D0A-B0C3-98A176860DAB}" destId="{563168DE-FBF0-4B1D-BB55-336AB23A937E}" srcOrd="0" destOrd="0" parTransId="{2DA76F73-49CC-4E2E-871D-A1EACC922F48}" sibTransId="{0E3218D5-64A2-466D-A5DF-4F8F8D2BCFB5}"/>
    <dgm:cxn modelId="{7895CFFC-7BEE-4ED4-8CC2-44F2D4DF5CCD}" srcId="{096F9748-9BAF-4D0A-B0C3-98A176860DAB}" destId="{C2178FF1-E55F-4B0A-B207-CFF464636C72}" srcOrd="1" destOrd="0" parTransId="{292C5919-2C0D-4209-BF98-8E6EC66D10C8}" sibTransId="{270F630D-12C5-45EC-B697-F7F90A604514}"/>
    <dgm:cxn modelId="{D7B6CD96-9A82-433E-94CB-B607DC503AE2}" type="presParOf" srcId="{4458C0E9-D7A7-478D-AA0B-9DE01B69E6F8}" destId="{8E6350A9-68B8-4559-AD28-2424BF6F7D98}" srcOrd="0" destOrd="0" presId="urn:microsoft.com/office/officeart/2005/8/layout/orgChart1"/>
    <dgm:cxn modelId="{0894C7C1-5724-47FE-97E9-377E5C291D36}" type="presParOf" srcId="{8E6350A9-68B8-4559-AD28-2424BF6F7D98}" destId="{648243D9-C6E8-41E1-85CE-A4136B9A8070}" srcOrd="0" destOrd="0" presId="urn:microsoft.com/office/officeart/2005/8/layout/orgChart1"/>
    <dgm:cxn modelId="{5EDF7B4C-1FF7-4C23-83AF-BA47DA832A0B}" type="presParOf" srcId="{648243D9-C6E8-41E1-85CE-A4136B9A8070}" destId="{852A5A81-DE61-4A04-B6CD-91B9A2823FA6}" srcOrd="0" destOrd="0" presId="urn:microsoft.com/office/officeart/2005/8/layout/orgChart1"/>
    <dgm:cxn modelId="{289C79DE-2463-418F-ACB0-F1881770B5EC}" type="presParOf" srcId="{648243D9-C6E8-41E1-85CE-A4136B9A8070}" destId="{B509C290-AD22-46AA-8A72-94C7B069B86A}" srcOrd="1" destOrd="0" presId="urn:microsoft.com/office/officeart/2005/8/layout/orgChart1"/>
    <dgm:cxn modelId="{3E015F7B-E9F0-475E-8CC3-D853930F4047}" type="presParOf" srcId="{8E6350A9-68B8-4559-AD28-2424BF6F7D98}" destId="{260BCCDF-6D36-47CD-91C7-3F3DDD4E1C22}" srcOrd="1" destOrd="0" presId="urn:microsoft.com/office/officeart/2005/8/layout/orgChart1"/>
    <dgm:cxn modelId="{579D5235-432C-4226-A646-59CAC3DE12CA}" type="presParOf" srcId="{260BCCDF-6D36-47CD-91C7-3F3DDD4E1C22}" destId="{D7B612D6-2A3C-4193-A014-D56E0A022887}" srcOrd="0" destOrd="0" presId="urn:microsoft.com/office/officeart/2005/8/layout/orgChart1"/>
    <dgm:cxn modelId="{03718795-E257-4776-BBC7-7381C8934E95}" type="presParOf" srcId="{260BCCDF-6D36-47CD-91C7-3F3DDD4E1C22}" destId="{00ABDD1E-E729-4BE7-81CD-670388ED615C}" srcOrd="1" destOrd="0" presId="urn:microsoft.com/office/officeart/2005/8/layout/orgChart1"/>
    <dgm:cxn modelId="{84641366-892F-45DA-A8F1-5A4C2F5CB5B9}" type="presParOf" srcId="{00ABDD1E-E729-4BE7-81CD-670388ED615C}" destId="{BEF40562-89E3-4881-8985-7B992A4A06D9}" srcOrd="0" destOrd="0" presId="urn:microsoft.com/office/officeart/2005/8/layout/orgChart1"/>
    <dgm:cxn modelId="{39235985-B8C5-4B48-A66A-4117F45BB137}" type="presParOf" srcId="{BEF40562-89E3-4881-8985-7B992A4A06D9}" destId="{625EEB6B-73C6-4375-BCF5-5C93C85D43FB}" srcOrd="0" destOrd="0" presId="urn:microsoft.com/office/officeart/2005/8/layout/orgChart1"/>
    <dgm:cxn modelId="{C2E5778B-E449-4029-B88D-EE9F3FADBCEF}" type="presParOf" srcId="{BEF40562-89E3-4881-8985-7B992A4A06D9}" destId="{322551FD-CC34-4006-B084-E9786E812137}" srcOrd="1" destOrd="0" presId="urn:microsoft.com/office/officeart/2005/8/layout/orgChart1"/>
    <dgm:cxn modelId="{E03E2D48-BF02-414E-98AB-9EB11E85DC12}" type="presParOf" srcId="{00ABDD1E-E729-4BE7-81CD-670388ED615C}" destId="{CE5C97A4-90EE-45CF-A634-3BB36D44744C}" srcOrd="1" destOrd="0" presId="urn:microsoft.com/office/officeart/2005/8/layout/orgChart1"/>
    <dgm:cxn modelId="{C7B58B3B-DB7E-4876-9CA9-CC978D6EDF1F}" type="presParOf" srcId="{00ABDD1E-E729-4BE7-81CD-670388ED615C}" destId="{F8E751A9-0951-440E-941E-AA88C6B1C194}" srcOrd="2" destOrd="0" presId="urn:microsoft.com/office/officeart/2005/8/layout/orgChart1"/>
    <dgm:cxn modelId="{6E4969F5-E1F5-4670-9D50-E0281FBC7A38}" type="presParOf" srcId="{260BCCDF-6D36-47CD-91C7-3F3DDD4E1C22}" destId="{93500559-4249-41E6-B94C-3C02E9B9ECF6}" srcOrd="2" destOrd="0" presId="urn:microsoft.com/office/officeart/2005/8/layout/orgChart1"/>
    <dgm:cxn modelId="{80B80A0D-F803-46A1-822C-17951DB4ADEE}" type="presParOf" srcId="{260BCCDF-6D36-47CD-91C7-3F3DDD4E1C22}" destId="{21DFDD72-DD9A-4D54-9BE7-3BD44D9F493A}" srcOrd="3" destOrd="0" presId="urn:microsoft.com/office/officeart/2005/8/layout/orgChart1"/>
    <dgm:cxn modelId="{72E18542-65C9-4F5A-B1E4-8A8730BDF873}" type="presParOf" srcId="{21DFDD72-DD9A-4D54-9BE7-3BD44D9F493A}" destId="{69C7D9F9-B6AD-478D-A085-8460E4C3CE1E}" srcOrd="0" destOrd="0" presId="urn:microsoft.com/office/officeart/2005/8/layout/orgChart1"/>
    <dgm:cxn modelId="{E5143106-9C96-4BB2-A701-FDC513570A9C}" type="presParOf" srcId="{69C7D9F9-B6AD-478D-A085-8460E4C3CE1E}" destId="{4DBD9A14-04F6-4800-931E-22BDA1262509}" srcOrd="0" destOrd="0" presId="urn:microsoft.com/office/officeart/2005/8/layout/orgChart1"/>
    <dgm:cxn modelId="{EEC48C46-C586-400C-BCD0-539BF40BEE65}" type="presParOf" srcId="{69C7D9F9-B6AD-478D-A085-8460E4C3CE1E}" destId="{491B121E-B2B8-45CA-BDEE-CA45067F17AD}" srcOrd="1" destOrd="0" presId="urn:microsoft.com/office/officeart/2005/8/layout/orgChart1"/>
    <dgm:cxn modelId="{1C731685-5E88-43D3-BFD3-10F4EEBA9318}" type="presParOf" srcId="{21DFDD72-DD9A-4D54-9BE7-3BD44D9F493A}" destId="{33FA24CD-C580-47C2-BB69-C549B90CF80F}" srcOrd="1" destOrd="0" presId="urn:microsoft.com/office/officeart/2005/8/layout/orgChart1"/>
    <dgm:cxn modelId="{9B232609-54D4-4BBB-937E-A6DEE5062EF5}" type="presParOf" srcId="{21DFDD72-DD9A-4D54-9BE7-3BD44D9F493A}" destId="{02C87A56-514D-40A6-A1A9-F766D18A6E90}" srcOrd="2" destOrd="0" presId="urn:microsoft.com/office/officeart/2005/8/layout/orgChart1"/>
    <dgm:cxn modelId="{90513403-5B5B-4E8F-801E-B21E3BF3D648}" type="presParOf" srcId="{260BCCDF-6D36-47CD-91C7-3F3DDD4E1C22}" destId="{78CA90C1-5B61-4695-9E29-961D2496143E}" srcOrd="4" destOrd="0" presId="urn:microsoft.com/office/officeart/2005/8/layout/orgChart1"/>
    <dgm:cxn modelId="{C21960AF-4D82-4AE1-B44E-418B99C1670C}" type="presParOf" srcId="{260BCCDF-6D36-47CD-91C7-3F3DDD4E1C22}" destId="{0982B7CC-E4FF-48F9-88C1-58E27E3A2288}" srcOrd="5" destOrd="0" presId="urn:microsoft.com/office/officeart/2005/8/layout/orgChart1"/>
    <dgm:cxn modelId="{FE73A08E-5E21-4E55-AAF9-510DD44FB4DA}" type="presParOf" srcId="{0982B7CC-E4FF-48F9-88C1-58E27E3A2288}" destId="{26C98C72-DBA2-44EB-B54B-E5189357277C}" srcOrd="0" destOrd="0" presId="urn:microsoft.com/office/officeart/2005/8/layout/orgChart1"/>
    <dgm:cxn modelId="{92B7118D-B607-489C-9F2D-61D75E97D477}" type="presParOf" srcId="{26C98C72-DBA2-44EB-B54B-E5189357277C}" destId="{3EAB3DBC-8321-43BB-98AE-ABA99E2E4F2C}" srcOrd="0" destOrd="0" presId="urn:microsoft.com/office/officeart/2005/8/layout/orgChart1"/>
    <dgm:cxn modelId="{4AF19019-A461-4BFF-9C0E-95B436A20F4C}" type="presParOf" srcId="{26C98C72-DBA2-44EB-B54B-E5189357277C}" destId="{32E617A6-7821-40C0-AECE-9F39AC9332D2}" srcOrd="1" destOrd="0" presId="urn:microsoft.com/office/officeart/2005/8/layout/orgChart1"/>
    <dgm:cxn modelId="{9701146A-DA5D-4FA0-892A-C21E28835DCD}" type="presParOf" srcId="{0982B7CC-E4FF-48F9-88C1-58E27E3A2288}" destId="{E55C8869-8873-4EB0-96A1-82010ED13D28}" srcOrd="1" destOrd="0" presId="urn:microsoft.com/office/officeart/2005/8/layout/orgChart1"/>
    <dgm:cxn modelId="{1DBDD8C3-2333-4F25-A07D-D6F37C4866D5}" type="presParOf" srcId="{0982B7CC-E4FF-48F9-88C1-58E27E3A2288}" destId="{47A1B836-02DD-48D3-AA7A-89ED14686BA8}" srcOrd="2" destOrd="0" presId="urn:microsoft.com/office/officeart/2005/8/layout/orgChart1"/>
    <dgm:cxn modelId="{FBCE7D8D-31CC-4153-8520-82376C03F442}" type="presParOf" srcId="{8E6350A9-68B8-4559-AD28-2424BF6F7D98}" destId="{4B9FB8A3-84E6-4B3E-A629-0D27718CC737}"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CA90C1-5B61-4695-9E29-961D2496143E}">
      <dsp:nvSpPr>
        <dsp:cNvPr id="0" name=""/>
        <dsp:cNvSpPr/>
      </dsp:nvSpPr>
      <dsp:spPr>
        <a:xfrm>
          <a:off x="3527250" y="1863359"/>
          <a:ext cx="2495555" cy="433112"/>
        </a:xfrm>
        <a:custGeom>
          <a:avLst/>
          <a:gdLst/>
          <a:ahLst/>
          <a:cxnLst/>
          <a:rect l="0" t="0" r="0" b="0"/>
          <a:pathLst>
            <a:path>
              <a:moveTo>
                <a:pt x="0" y="0"/>
              </a:moveTo>
              <a:lnTo>
                <a:pt x="0" y="216556"/>
              </a:lnTo>
              <a:lnTo>
                <a:pt x="2495555" y="216556"/>
              </a:lnTo>
              <a:lnTo>
                <a:pt x="2495555" y="43311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3500559-4249-41E6-B94C-3C02E9B9ECF6}">
      <dsp:nvSpPr>
        <dsp:cNvPr id="0" name=""/>
        <dsp:cNvSpPr/>
      </dsp:nvSpPr>
      <dsp:spPr>
        <a:xfrm>
          <a:off x="3481530" y="1863359"/>
          <a:ext cx="91440" cy="433112"/>
        </a:xfrm>
        <a:custGeom>
          <a:avLst/>
          <a:gdLst/>
          <a:ahLst/>
          <a:cxnLst/>
          <a:rect l="0" t="0" r="0" b="0"/>
          <a:pathLst>
            <a:path>
              <a:moveTo>
                <a:pt x="45720" y="0"/>
              </a:moveTo>
              <a:lnTo>
                <a:pt x="45720" y="43311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7B612D6-2A3C-4193-A014-D56E0A022887}">
      <dsp:nvSpPr>
        <dsp:cNvPr id="0" name=""/>
        <dsp:cNvSpPr/>
      </dsp:nvSpPr>
      <dsp:spPr>
        <a:xfrm>
          <a:off x="1031694" y="1863359"/>
          <a:ext cx="2495555" cy="433112"/>
        </a:xfrm>
        <a:custGeom>
          <a:avLst/>
          <a:gdLst/>
          <a:ahLst/>
          <a:cxnLst/>
          <a:rect l="0" t="0" r="0" b="0"/>
          <a:pathLst>
            <a:path>
              <a:moveTo>
                <a:pt x="2495555" y="0"/>
              </a:moveTo>
              <a:lnTo>
                <a:pt x="2495555" y="216556"/>
              </a:lnTo>
              <a:lnTo>
                <a:pt x="0" y="216556"/>
              </a:lnTo>
              <a:lnTo>
                <a:pt x="0" y="43311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52A5A81-DE61-4A04-B6CD-91B9A2823FA6}">
      <dsp:nvSpPr>
        <dsp:cNvPr id="0" name=""/>
        <dsp:cNvSpPr/>
      </dsp:nvSpPr>
      <dsp:spPr>
        <a:xfrm>
          <a:off x="2496028" y="832138"/>
          <a:ext cx="2062442" cy="103122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225" tIns="22225" rIns="22225" bIns="22225" numCol="1" spcCol="1270" anchor="ctr" anchorCtr="0">
          <a:noAutofit/>
        </a:bodyPr>
        <a:lstStyle/>
        <a:p>
          <a:pPr marL="0" lvl="0" indent="0" algn="ctr" defTabSz="1555750">
            <a:lnSpc>
              <a:spcPct val="90000"/>
            </a:lnSpc>
            <a:spcBef>
              <a:spcPct val="0"/>
            </a:spcBef>
            <a:spcAft>
              <a:spcPct val="35000"/>
            </a:spcAft>
            <a:buNone/>
          </a:pPr>
          <a:r>
            <a:rPr lang="en-US" sz="3500" kern="1200" dirty="0"/>
            <a:t>FOSS License</a:t>
          </a:r>
        </a:p>
      </dsp:txBody>
      <dsp:txXfrm>
        <a:off x="2496028" y="832138"/>
        <a:ext cx="2062442" cy="1031221"/>
      </dsp:txXfrm>
    </dsp:sp>
    <dsp:sp modelId="{625EEB6B-73C6-4375-BCF5-5C93C85D43FB}">
      <dsp:nvSpPr>
        <dsp:cNvPr id="0" name=""/>
        <dsp:cNvSpPr/>
      </dsp:nvSpPr>
      <dsp:spPr>
        <a:xfrm>
          <a:off x="473" y="2296472"/>
          <a:ext cx="2062442" cy="1031221"/>
        </a:xfrm>
        <a:prstGeom prst="rect">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225" tIns="22225" rIns="22225" bIns="22225" numCol="1" spcCol="1270" anchor="ctr" anchorCtr="0">
          <a:noAutofit/>
        </a:bodyPr>
        <a:lstStyle/>
        <a:p>
          <a:pPr marL="0" lvl="0" indent="0" algn="ctr" defTabSz="1555750">
            <a:lnSpc>
              <a:spcPct val="90000"/>
            </a:lnSpc>
            <a:spcBef>
              <a:spcPct val="0"/>
            </a:spcBef>
            <a:spcAft>
              <a:spcPct val="35000"/>
            </a:spcAft>
            <a:buNone/>
          </a:pPr>
          <a:r>
            <a:rPr lang="en-US" sz="3500" kern="1200" dirty="0"/>
            <a:t>Permissive</a:t>
          </a:r>
        </a:p>
      </dsp:txBody>
      <dsp:txXfrm>
        <a:off x="473" y="2296472"/>
        <a:ext cx="2062442" cy="1031221"/>
      </dsp:txXfrm>
    </dsp:sp>
    <dsp:sp modelId="{4DBD9A14-04F6-4800-931E-22BDA1262509}">
      <dsp:nvSpPr>
        <dsp:cNvPr id="0" name=""/>
        <dsp:cNvSpPr/>
      </dsp:nvSpPr>
      <dsp:spPr>
        <a:xfrm>
          <a:off x="2496028" y="2296472"/>
          <a:ext cx="2062442" cy="1031221"/>
        </a:xfrm>
        <a:prstGeom prst="rect">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225" tIns="22225" rIns="22225" bIns="22225" numCol="1" spcCol="1270" anchor="ctr" anchorCtr="0">
          <a:noAutofit/>
        </a:bodyPr>
        <a:lstStyle/>
        <a:p>
          <a:pPr marL="0" lvl="0" indent="0" algn="ctr" defTabSz="1555750">
            <a:lnSpc>
              <a:spcPct val="90000"/>
            </a:lnSpc>
            <a:spcBef>
              <a:spcPct val="0"/>
            </a:spcBef>
            <a:spcAft>
              <a:spcPct val="35000"/>
            </a:spcAft>
            <a:buNone/>
          </a:pPr>
          <a:r>
            <a:rPr lang="en-US" sz="3500" kern="1200" dirty="0"/>
            <a:t>Weak Copyleft</a:t>
          </a:r>
        </a:p>
      </dsp:txBody>
      <dsp:txXfrm>
        <a:off x="2496028" y="2296472"/>
        <a:ext cx="2062442" cy="1031221"/>
      </dsp:txXfrm>
    </dsp:sp>
    <dsp:sp modelId="{3EAB3DBC-8321-43BB-98AE-ABA99E2E4F2C}">
      <dsp:nvSpPr>
        <dsp:cNvPr id="0" name=""/>
        <dsp:cNvSpPr/>
      </dsp:nvSpPr>
      <dsp:spPr>
        <a:xfrm>
          <a:off x="4991584" y="2296472"/>
          <a:ext cx="2062442" cy="1031221"/>
        </a:xfrm>
        <a:prstGeom prst="rect">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225" tIns="22225" rIns="22225" bIns="22225" numCol="1" spcCol="1270" anchor="ctr" anchorCtr="0">
          <a:noAutofit/>
        </a:bodyPr>
        <a:lstStyle/>
        <a:p>
          <a:pPr marL="0" lvl="0" indent="0" algn="ctr" defTabSz="1555750">
            <a:lnSpc>
              <a:spcPct val="90000"/>
            </a:lnSpc>
            <a:spcBef>
              <a:spcPct val="0"/>
            </a:spcBef>
            <a:spcAft>
              <a:spcPct val="35000"/>
            </a:spcAft>
            <a:buNone/>
          </a:pPr>
          <a:r>
            <a:rPr lang="en-US" sz="3500" kern="1200" dirty="0"/>
            <a:t>Strong Copyleft</a:t>
          </a:r>
        </a:p>
      </dsp:txBody>
      <dsp:txXfrm>
        <a:off x="4991584" y="2296472"/>
        <a:ext cx="2062442" cy="1031221"/>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469E954-CEF3-4DDC-BF24-07F06EF5BFA2}" type="datetimeFigureOut">
              <a:rPr lang="en-US" smtClean="0"/>
              <a:t>9/2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D26FE80-0921-4DD3-A069-BF422C123AE1}" type="slidenum">
              <a:rPr lang="en-US" smtClean="0"/>
              <a:t>‹#›</a:t>
            </a:fld>
            <a:endParaRPr lang="en-US"/>
          </a:p>
        </p:txBody>
      </p:sp>
    </p:spTree>
    <p:extLst>
      <p:ext uri="{BB962C8B-B14F-4D97-AF65-F5344CB8AC3E}">
        <p14:creationId xmlns:p14="http://schemas.microsoft.com/office/powerpoint/2010/main" val="5918406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sides open source software, there are also other kinds of downloadable software that are not covered by the term "open source":</a:t>
            </a:r>
          </a:p>
          <a:p>
            <a:pPr marL="645750" lvl="2" indent="-285750"/>
            <a:r>
              <a:rPr lang="en-US" dirty="0"/>
              <a:t>Shareware</a:t>
            </a:r>
          </a:p>
          <a:p>
            <a:pPr marL="645750" lvl="2" indent="-285750"/>
            <a:r>
              <a:rPr lang="en-US" dirty="0"/>
              <a:t>Any software that may not be redistributed as part of another program.</a:t>
            </a:r>
          </a:p>
          <a:p>
            <a:endParaRPr lang="en-US" dirty="0"/>
          </a:p>
        </p:txBody>
      </p:sp>
      <p:sp>
        <p:nvSpPr>
          <p:cNvPr id="4" name="Slide Number Placeholder 3"/>
          <p:cNvSpPr>
            <a:spLocks noGrp="1"/>
          </p:cNvSpPr>
          <p:nvPr>
            <p:ph type="sldNum" sz="quarter" idx="5"/>
          </p:nvPr>
        </p:nvSpPr>
        <p:spPr/>
        <p:txBody>
          <a:bodyPr/>
          <a:lstStyle/>
          <a:p>
            <a:fld id="{7D26FE80-0921-4DD3-A069-BF422C123AE1}" type="slidenum">
              <a:rPr lang="en-US" smtClean="0"/>
              <a:t>3</a:t>
            </a:fld>
            <a:endParaRPr lang="en-US"/>
          </a:p>
        </p:txBody>
      </p:sp>
    </p:spTree>
    <p:extLst>
      <p:ext uri="{BB962C8B-B14F-4D97-AF65-F5344CB8AC3E}">
        <p14:creationId xmlns:p14="http://schemas.microsoft.com/office/powerpoint/2010/main" val="1726940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CoKinetic</a:t>
            </a:r>
            <a:r>
              <a:rPr lang="en-US" dirty="0"/>
              <a:t> Systems, a developer and manufacturer of in-flight entertainment (IFE) software, has filed a case against Panasonic Avionics that includes allegations of a fairly egregious breach of the GPL. The complaint alleges that Panasonic Avionics has monopolized the Panasonic IFE Software and Media Services Market by deliberately refusing to distribute the source code for its open-source Linux-based operating system.</a:t>
            </a:r>
          </a:p>
          <a:p>
            <a:endParaRPr lang="en-US" dirty="0"/>
          </a:p>
          <a:p>
            <a:r>
              <a:rPr lang="en-US" dirty="0"/>
              <a:t>Panasonic has built the Linux-Based Panasonic Core Software using the open-source Linux kernel, which is clearly governed by the GPL, together with Panasonic’s own modified Linux modules, which are likewise governed by the GPL.</a:t>
            </a:r>
          </a:p>
          <a:p>
            <a:endParaRPr lang="en-US" dirty="0"/>
          </a:p>
          <a:p>
            <a:r>
              <a:rPr lang="en-US" dirty="0"/>
              <a:t>Panasonic has incorporated a massive amount of open source modules, programs, and libraries into the Linux-Based Panasonic Core Software, without distributing notices or source code to the Linux-Based Panasonic Core Software, or even to any part of it.</a:t>
            </a:r>
          </a:p>
          <a:p>
            <a:endParaRPr lang="en-US" dirty="0"/>
          </a:p>
          <a:p>
            <a:r>
              <a:rPr lang="en-US" dirty="0" err="1"/>
              <a:t>CoKinetic</a:t>
            </a:r>
            <a:r>
              <a:rPr lang="en-US" dirty="0"/>
              <a:t> Systems contends that Panasonic’s refusal to distribute its source code voids its GPL license and “potentially exposes Panasonic to billions of dollars in statutory damages for hundreds of thousands of hardware installations that willfully infringe copyrights belonging to hundreds or even thousands of software developers that freely contributed source code to Linux.”</a:t>
            </a:r>
          </a:p>
        </p:txBody>
      </p:sp>
      <p:sp>
        <p:nvSpPr>
          <p:cNvPr id="4" name="Slide Number Placeholder 3"/>
          <p:cNvSpPr>
            <a:spLocks noGrp="1"/>
          </p:cNvSpPr>
          <p:nvPr>
            <p:ph type="sldNum" sz="quarter" idx="5"/>
          </p:nvPr>
        </p:nvSpPr>
        <p:spPr/>
        <p:txBody>
          <a:bodyPr/>
          <a:lstStyle/>
          <a:p>
            <a:fld id="{7D26FE80-0921-4DD3-A069-BF422C123AE1}" type="slidenum">
              <a:rPr lang="en-US" smtClean="0"/>
              <a:t>13</a:t>
            </a:fld>
            <a:endParaRPr lang="en-US"/>
          </a:p>
        </p:txBody>
      </p:sp>
    </p:spTree>
    <p:extLst>
      <p:ext uri="{BB962C8B-B14F-4D97-AF65-F5344CB8AC3E}">
        <p14:creationId xmlns:p14="http://schemas.microsoft.com/office/powerpoint/2010/main" val="22201321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Copilot can speed up the process of writing code and ease software development, its use of public open-source code has caused experts to worry that it violates licensing attributions and limitations.</a:t>
            </a:r>
          </a:p>
          <a:p>
            <a:endParaRPr lang="en-US" dirty="0"/>
          </a:p>
          <a:p>
            <a:r>
              <a:rPr lang="en-US" dirty="0"/>
              <a:t>Open-source licenses, like the GPL, Apache, and MIT licenses, require attribution of the author's name and defining particular copyrights.</a:t>
            </a:r>
          </a:p>
          <a:p>
            <a:endParaRPr lang="en-US" dirty="0"/>
          </a:p>
          <a:p>
            <a:r>
              <a:rPr lang="en-US" dirty="0"/>
              <a:t>However, Copilot is removing this component, and even when the snippets are longer than 150 characters and taken directly from the training set, no attribution is given.</a:t>
            </a:r>
          </a:p>
          <a:p>
            <a:endParaRPr lang="en-US" dirty="0"/>
          </a:p>
          <a:p>
            <a:r>
              <a:rPr lang="en-US" dirty="0"/>
              <a:t>Some programmers have gone as far as to call this open-source laundering, and the legal implications of this approach were demonstrated after the launch of the AI tool.</a:t>
            </a:r>
          </a:p>
          <a:p>
            <a:endParaRPr lang="en-US" dirty="0"/>
          </a:p>
          <a:p>
            <a:r>
              <a:rPr lang="en-US" dirty="0"/>
              <a:t>Apart from the license violations, there is alleges that the development feature violates the following:</a:t>
            </a:r>
          </a:p>
          <a:p>
            <a:endParaRPr lang="en-US" dirty="0"/>
          </a:p>
          <a:p>
            <a:r>
              <a:rPr lang="en-US" dirty="0"/>
              <a:t>GitHub's terms of service and privacy policies,</a:t>
            </a:r>
          </a:p>
          <a:p>
            <a:r>
              <a:rPr lang="en-US" dirty="0"/>
              <a:t>DMCA 1202, which forbids the removal of copyright-management information,</a:t>
            </a:r>
          </a:p>
          <a:p>
            <a:r>
              <a:rPr lang="en-US" dirty="0"/>
              <a:t>the California Consumer Privacy Act,</a:t>
            </a:r>
          </a:p>
          <a:p>
            <a:r>
              <a:rPr lang="en-US" dirty="0"/>
              <a:t>and other laws giving rise to the related legal claims.</a:t>
            </a:r>
          </a:p>
        </p:txBody>
      </p:sp>
      <p:sp>
        <p:nvSpPr>
          <p:cNvPr id="4" name="Slide Number Placeholder 3"/>
          <p:cNvSpPr>
            <a:spLocks noGrp="1"/>
          </p:cNvSpPr>
          <p:nvPr>
            <p:ph type="sldNum" sz="quarter" idx="5"/>
          </p:nvPr>
        </p:nvSpPr>
        <p:spPr/>
        <p:txBody>
          <a:bodyPr/>
          <a:lstStyle/>
          <a:p>
            <a:fld id="{7D26FE80-0921-4DD3-A069-BF422C123AE1}" type="slidenum">
              <a:rPr lang="en-US" smtClean="0"/>
              <a:t>14</a:t>
            </a:fld>
            <a:endParaRPr lang="en-US"/>
          </a:p>
        </p:txBody>
      </p:sp>
    </p:spTree>
    <p:extLst>
      <p:ext uri="{BB962C8B-B14F-4D97-AF65-F5344CB8AC3E}">
        <p14:creationId xmlns:p14="http://schemas.microsoft.com/office/powerpoint/2010/main" val="15357927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81296B-6F32-438D-B06A-F6C0CADFA95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A32F0F3-2A63-4D6E-BD3D-F694A0EDEB9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64E4B0E-F481-4DC1-8F02-9967C4F26544}"/>
              </a:ext>
            </a:extLst>
          </p:cNvPr>
          <p:cNvSpPr>
            <a:spLocks noGrp="1"/>
          </p:cNvSpPr>
          <p:nvPr>
            <p:ph type="dt" sz="half" idx="10"/>
          </p:nvPr>
        </p:nvSpPr>
        <p:spPr/>
        <p:txBody>
          <a:bodyPr/>
          <a:lstStyle/>
          <a:p>
            <a:r>
              <a:rPr lang="en-US" dirty="0"/>
              <a:t>Sep 2024</a:t>
            </a:r>
          </a:p>
        </p:txBody>
      </p:sp>
      <p:sp>
        <p:nvSpPr>
          <p:cNvPr id="5" name="Footer Placeholder 4">
            <a:extLst>
              <a:ext uri="{FF2B5EF4-FFF2-40B4-BE49-F238E27FC236}">
                <a16:creationId xmlns:a16="http://schemas.microsoft.com/office/drawing/2014/main" id="{719FB0FE-049F-4359-8704-64B1405D96D9}"/>
              </a:ext>
            </a:extLst>
          </p:cNvPr>
          <p:cNvSpPr>
            <a:spLocks noGrp="1"/>
          </p:cNvSpPr>
          <p:nvPr>
            <p:ph type="ftr" sz="quarter" idx="11"/>
          </p:nvPr>
        </p:nvSpPr>
        <p:spPr/>
        <p:txBody>
          <a:bodyPr/>
          <a:lstStyle/>
          <a:p>
            <a:r>
              <a:rPr lang="en-US" dirty="0"/>
              <a:t>OSPO</a:t>
            </a:r>
          </a:p>
        </p:txBody>
      </p:sp>
      <p:sp>
        <p:nvSpPr>
          <p:cNvPr id="6" name="Slide Number Placeholder 5">
            <a:extLst>
              <a:ext uri="{FF2B5EF4-FFF2-40B4-BE49-F238E27FC236}">
                <a16:creationId xmlns:a16="http://schemas.microsoft.com/office/drawing/2014/main" id="{21B3C2B5-278B-4DE1-9423-5E83DC0E9446}"/>
              </a:ext>
            </a:extLst>
          </p:cNvPr>
          <p:cNvSpPr>
            <a:spLocks noGrp="1"/>
          </p:cNvSpPr>
          <p:nvPr>
            <p:ph type="sldNum" sz="quarter" idx="12"/>
          </p:nvPr>
        </p:nvSpPr>
        <p:spPr/>
        <p:txBody>
          <a:bodyPr/>
          <a:lstStyle/>
          <a:p>
            <a:fld id="{627A6445-FEA1-42B8-B0C3-C3D065FA2AC5}" type="slidenum">
              <a:rPr lang="en-US" smtClean="0"/>
              <a:t>‹#›</a:t>
            </a:fld>
            <a:endParaRPr lang="en-US"/>
          </a:p>
        </p:txBody>
      </p:sp>
    </p:spTree>
    <p:extLst>
      <p:ext uri="{BB962C8B-B14F-4D97-AF65-F5344CB8AC3E}">
        <p14:creationId xmlns:p14="http://schemas.microsoft.com/office/powerpoint/2010/main" val="36429586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00E9EC-9281-4E53-9D63-B92093D53B4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4488AE9-27B7-4595-A495-B8C4B20501E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FD2ED1-1624-46A6-8A3E-E6430C9C3DF7}"/>
              </a:ext>
            </a:extLst>
          </p:cNvPr>
          <p:cNvSpPr>
            <a:spLocks noGrp="1"/>
          </p:cNvSpPr>
          <p:nvPr>
            <p:ph type="dt" sz="half" idx="10"/>
          </p:nvPr>
        </p:nvSpPr>
        <p:spPr/>
        <p:txBody>
          <a:bodyPr/>
          <a:lstStyle/>
          <a:p>
            <a:r>
              <a:rPr lang="en-US"/>
              <a:t>Nov 2023</a:t>
            </a:r>
          </a:p>
        </p:txBody>
      </p:sp>
      <p:sp>
        <p:nvSpPr>
          <p:cNvPr id="5" name="Footer Placeholder 4">
            <a:extLst>
              <a:ext uri="{FF2B5EF4-FFF2-40B4-BE49-F238E27FC236}">
                <a16:creationId xmlns:a16="http://schemas.microsoft.com/office/drawing/2014/main" id="{395BD623-B93F-4740-9450-7C9089E4F4B5}"/>
              </a:ext>
            </a:extLst>
          </p:cNvPr>
          <p:cNvSpPr>
            <a:spLocks noGrp="1"/>
          </p:cNvSpPr>
          <p:nvPr>
            <p:ph type="ftr" sz="quarter" idx="11"/>
          </p:nvPr>
        </p:nvSpPr>
        <p:spPr/>
        <p:txBody>
          <a:bodyPr/>
          <a:lstStyle/>
          <a:p>
            <a:r>
              <a:rPr lang="en-US"/>
              <a:t>Stellantis Internal | FOSS Office</a:t>
            </a:r>
          </a:p>
        </p:txBody>
      </p:sp>
      <p:sp>
        <p:nvSpPr>
          <p:cNvPr id="6" name="Slide Number Placeholder 5">
            <a:extLst>
              <a:ext uri="{FF2B5EF4-FFF2-40B4-BE49-F238E27FC236}">
                <a16:creationId xmlns:a16="http://schemas.microsoft.com/office/drawing/2014/main" id="{0E143CF7-0309-462E-AB6D-815759AF2855}"/>
              </a:ext>
            </a:extLst>
          </p:cNvPr>
          <p:cNvSpPr>
            <a:spLocks noGrp="1"/>
          </p:cNvSpPr>
          <p:nvPr>
            <p:ph type="sldNum" sz="quarter" idx="12"/>
          </p:nvPr>
        </p:nvSpPr>
        <p:spPr/>
        <p:txBody>
          <a:bodyPr/>
          <a:lstStyle/>
          <a:p>
            <a:fld id="{627A6445-FEA1-42B8-B0C3-C3D065FA2AC5}" type="slidenum">
              <a:rPr lang="en-US" smtClean="0"/>
              <a:t>‹#›</a:t>
            </a:fld>
            <a:endParaRPr lang="en-US"/>
          </a:p>
        </p:txBody>
      </p:sp>
    </p:spTree>
    <p:extLst>
      <p:ext uri="{BB962C8B-B14F-4D97-AF65-F5344CB8AC3E}">
        <p14:creationId xmlns:p14="http://schemas.microsoft.com/office/powerpoint/2010/main" val="29159311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AB708CE-486D-4F12-A5DC-A4E1F206DB1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63073E5-AC42-40D5-8D6F-B0A99A096A5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10B9341-5B4D-4CEC-8375-A54651066923}"/>
              </a:ext>
            </a:extLst>
          </p:cNvPr>
          <p:cNvSpPr>
            <a:spLocks noGrp="1"/>
          </p:cNvSpPr>
          <p:nvPr>
            <p:ph type="dt" sz="half" idx="10"/>
          </p:nvPr>
        </p:nvSpPr>
        <p:spPr/>
        <p:txBody>
          <a:bodyPr/>
          <a:lstStyle/>
          <a:p>
            <a:r>
              <a:rPr lang="en-US"/>
              <a:t>Nov 2023</a:t>
            </a:r>
          </a:p>
        </p:txBody>
      </p:sp>
      <p:sp>
        <p:nvSpPr>
          <p:cNvPr id="5" name="Footer Placeholder 4">
            <a:extLst>
              <a:ext uri="{FF2B5EF4-FFF2-40B4-BE49-F238E27FC236}">
                <a16:creationId xmlns:a16="http://schemas.microsoft.com/office/drawing/2014/main" id="{189E0167-1723-4B6D-8B74-6C11797C71CD}"/>
              </a:ext>
            </a:extLst>
          </p:cNvPr>
          <p:cNvSpPr>
            <a:spLocks noGrp="1"/>
          </p:cNvSpPr>
          <p:nvPr>
            <p:ph type="ftr" sz="quarter" idx="11"/>
          </p:nvPr>
        </p:nvSpPr>
        <p:spPr/>
        <p:txBody>
          <a:bodyPr/>
          <a:lstStyle/>
          <a:p>
            <a:r>
              <a:rPr lang="en-US"/>
              <a:t>Stellantis Internal | FOSS Office</a:t>
            </a:r>
          </a:p>
        </p:txBody>
      </p:sp>
      <p:sp>
        <p:nvSpPr>
          <p:cNvPr id="6" name="Slide Number Placeholder 5">
            <a:extLst>
              <a:ext uri="{FF2B5EF4-FFF2-40B4-BE49-F238E27FC236}">
                <a16:creationId xmlns:a16="http://schemas.microsoft.com/office/drawing/2014/main" id="{1A5DB1B4-DB8E-40E6-878D-9CE057BBDAFF}"/>
              </a:ext>
            </a:extLst>
          </p:cNvPr>
          <p:cNvSpPr>
            <a:spLocks noGrp="1"/>
          </p:cNvSpPr>
          <p:nvPr>
            <p:ph type="sldNum" sz="quarter" idx="12"/>
          </p:nvPr>
        </p:nvSpPr>
        <p:spPr/>
        <p:txBody>
          <a:bodyPr/>
          <a:lstStyle/>
          <a:p>
            <a:fld id="{627A6445-FEA1-42B8-B0C3-C3D065FA2AC5}" type="slidenum">
              <a:rPr lang="en-US" smtClean="0"/>
              <a:t>‹#›</a:t>
            </a:fld>
            <a:endParaRPr lang="en-US"/>
          </a:p>
        </p:txBody>
      </p:sp>
    </p:spTree>
    <p:extLst>
      <p:ext uri="{BB962C8B-B14F-4D97-AF65-F5344CB8AC3E}">
        <p14:creationId xmlns:p14="http://schemas.microsoft.com/office/powerpoint/2010/main" val="19046736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Photo with highlighting text">
  <p:cSld name="Photo with highlighting text">
    <p:spTree>
      <p:nvGrpSpPr>
        <p:cNvPr id="1" name="Shape 86"/>
        <p:cNvGrpSpPr/>
        <p:nvPr/>
      </p:nvGrpSpPr>
      <p:grpSpPr>
        <a:xfrm>
          <a:off x="0" y="0"/>
          <a:ext cx="0" cy="0"/>
          <a:chOff x="0" y="0"/>
          <a:chExt cx="0" cy="0"/>
        </a:xfrm>
      </p:grpSpPr>
      <p:sp>
        <p:nvSpPr>
          <p:cNvPr id="87" name="Google Shape;87;p14"/>
          <p:cNvSpPr txBox="1">
            <a:spLocks noGrp="1"/>
          </p:cNvSpPr>
          <p:nvPr>
            <p:ph type="body" idx="1"/>
          </p:nvPr>
        </p:nvSpPr>
        <p:spPr>
          <a:xfrm>
            <a:off x="1" y="449849"/>
            <a:ext cx="9683400" cy="336000"/>
          </a:xfrm>
          <a:prstGeom prst="rect">
            <a:avLst/>
          </a:prstGeom>
          <a:solidFill>
            <a:schemeClr val="dk2"/>
          </a:solidFill>
          <a:ln>
            <a:noFill/>
          </a:ln>
        </p:spPr>
        <p:txBody>
          <a:bodyPr spcFirstLastPara="1" wrap="square" lIns="630000" tIns="0" rIns="360000" bIns="0" anchor="ctr" anchorCtr="0">
            <a:noAutofit/>
          </a:bodyPr>
          <a:lstStyle>
            <a:lvl1pPr marL="457189" lvl="0" indent="-228594" algn="l" rtl="0">
              <a:lnSpc>
                <a:spcPct val="100000"/>
              </a:lnSpc>
              <a:spcBef>
                <a:spcPts val="0"/>
              </a:spcBef>
              <a:spcAft>
                <a:spcPts val="0"/>
              </a:spcAft>
              <a:buClr>
                <a:schemeClr val="lt1"/>
              </a:buClr>
              <a:buSzPts val="1500"/>
              <a:buNone/>
              <a:defRPr sz="1500" b="1" cap="none">
                <a:solidFill>
                  <a:schemeClr val="lt1"/>
                </a:solidFill>
                <a:latin typeface="Encode Sans"/>
                <a:ea typeface="Encode Sans"/>
                <a:cs typeface="Encode Sans"/>
                <a:sym typeface="Encode Sans"/>
              </a:defRPr>
            </a:lvl1pPr>
            <a:lvl2pPr marL="914377" lvl="1" indent="-228594" algn="l" rtl="0">
              <a:lnSpc>
                <a:spcPct val="105000"/>
              </a:lnSpc>
              <a:spcBef>
                <a:spcPts val="700"/>
              </a:spcBef>
              <a:spcAft>
                <a:spcPts val="0"/>
              </a:spcAft>
              <a:buClr>
                <a:schemeClr val="dk2"/>
              </a:buClr>
              <a:buSzPts val="1500"/>
              <a:buNone/>
              <a:defRPr sz="1500" b="1"/>
            </a:lvl2pPr>
            <a:lvl3pPr marL="1371566" lvl="2" indent="-228594" algn="l" rtl="0">
              <a:lnSpc>
                <a:spcPct val="105000"/>
              </a:lnSpc>
              <a:spcBef>
                <a:spcPts val="700"/>
              </a:spcBef>
              <a:spcAft>
                <a:spcPts val="0"/>
              </a:spcAft>
              <a:buClr>
                <a:schemeClr val="dk2"/>
              </a:buClr>
              <a:buSzPts val="1620"/>
              <a:buNone/>
              <a:defRPr sz="1351" b="1"/>
            </a:lvl3pPr>
            <a:lvl4pPr marL="1828754" lvl="3" indent="-228594" algn="l" rtl="0">
              <a:lnSpc>
                <a:spcPct val="105000"/>
              </a:lnSpc>
              <a:spcBef>
                <a:spcPts val="400"/>
              </a:spcBef>
              <a:spcAft>
                <a:spcPts val="0"/>
              </a:spcAft>
              <a:buClr>
                <a:schemeClr val="dk2"/>
              </a:buClr>
              <a:buSzPts val="1200"/>
              <a:buNone/>
              <a:defRPr sz="1200" b="1"/>
            </a:lvl4pPr>
            <a:lvl5pPr marL="2285943" lvl="4" indent="-228594" algn="l" rtl="0">
              <a:lnSpc>
                <a:spcPct val="105000"/>
              </a:lnSpc>
              <a:spcBef>
                <a:spcPts val="400"/>
              </a:spcBef>
              <a:spcAft>
                <a:spcPts val="0"/>
              </a:spcAft>
              <a:buClr>
                <a:schemeClr val="dk2"/>
              </a:buClr>
              <a:buSzPts val="1200"/>
              <a:buNone/>
              <a:defRPr sz="1200" b="1"/>
            </a:lvl5pPr>
            <a:lvl6pPr marL="2743131" lvl="5" indent="-228594" algn="l" rtl="0">
              <a:lnSpc>
                <a:spcPct val="90000"/>
              </a:lnSpc>
              <a:spcBef>
                <a:spcPts val="375"/>
              </a:spcBef>
              <a:spcAft>
                <a:spcPts val="0"/>
              </a:spcAft>
              <a:buClr>
                <a:schemeClr val="dk1"/>
              </a:buClr>
              <a:buSzPts val="1200"/>
              <a:buNone/>
              <a:defRPr sz="1200" b="1"/>
            </a:lvl6pPr>
            <a:lvl7pPr marL="3200320" lvl="6" indent="-228594" algn="l" rtl="0">
              <a:lnSpc>
                <a:spcPct val="90000"/>
              </a:lnSpc>
              <a:spcBef>
                <a:spcPts val="375"/>
              </a:spcBef>
              <a:spcAft>
                <a:spcPts val="0"/>
              </a:spcAft>
              <a:buClr>
                <a:schemeClr val="dk1"/>
              </a:buClr>
              <a:buSzPts val="1200"/>
              <a:buNone/>
              <a:defRPr sz="1200" b="1"/>
            </a:lvl7pPr>
            <a:lvl8pPr marL="3657509" lvl="7" indent="-228594" algn="l" rtl="0">
              <a:lnSpc>
                <a:spcPct val="90000"/>
              </a:lnSpc>
              <a:spcBef>
                <a:spcPts val="375"/>
              </a:spcBef>
              <a:spcAft>
                <a:spcPts val="0"/>
              </a:spcAft>
              <a:buClr>
                <a:schemeClr val="dk1"/>
              </a:buClr>
              <a:buSzPts val="1200"/>
              <a:buNone/>
              <a:defRPr sz="1200" b="1"/>
            </a:lvl8pPr>
            <a:lvl9pPr marL="4114697" lvl="8" indent="-228594" algn="l" rtl="0">
              <a:lnSpc>
                <a:spcPct val="90000"/>
              </a:lnSpc>
              <a:spcBef>
                <a:spcPts val="375"/>
              </a:spcBef>
              <a:spcAft>
                <a:spcPts val="0"/>
              </a:spcAft>
              <a:buClr>
                <a:schemeClr val="dk1"/>
              </a:buClr>
              <a:buSzPts val="1200"/>
              <a:buNone/>
              <a:defRPr sz="1200" b="1"/>
            </a:lvl9pPr>
          </a:lstStyle>
          <a:p>
            <a:endParaRPr/>
          </a:p>
        </p:txBody>
      </p:sp>
      <p:sp>
        <p:nvSpPr>
          <p:cNvPr id="88" name="Google Shape;88;p14"/>
          <p:cNvSpPr txBox="1">
            <a:spLocks noGrp="1"/>
          </p:cNvSpPr>
          <p:nvPr>
            <p:ph type="dt" idx="10"/>
          </p:nvPr>
        </p:nvSpPr>
        <p:spPr>
          <a:xfrm>
            <a:off x="546100" y="6489701"/>
            <a:ext cx="1056000" cy="216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r>
              <a:rPr lang="en-US"/>
              <a:t>Nov 2023</a:t>
            </a:r>
            <a:endParaRPr/>
          </a:p>
        </p:txBody>
      </p:sp>
      <p:sp>
        <p:nvSpPr>
          <p:cNvPr id="89" name="Google Shape;89;p14"/>
          <p:cNvSpPr txBox="1">
            <a:spLocks noGrp="1"/>
          </p:cNvSpPr>
          <p:nvPr>
            <p:ph type="ftr" idx="11"/>
          </p:nvPr>
        </p:nvSpPr>
        <p:spPr>
          <a:xfrm>
            <a:off x="1489707" y="6489701"/>
            <a:ext cx="4800000" cy="216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r>
              <a:rPr lang="en-US"/>
              <a:t>Stellantis Internal | FOSS Office</a:t>
            </a:r>
            <a:endParaRPr/>
          </a:p>
        </p:txBody>
      </p:sp>
      <p:sp>
        <p:nvSpPr>
          <p:cNvPr id="90" name="Google Shape;90;p14"/>
          <p:cNvSpPr txBox="1">
            <a:spLocks noGrp="1"/>
          </p:cNvSpPr>
          <p:nvPr>
            <p:ph type="sldNum" idx="12"/>
          </p:nvPr>
        </p:nvSpPr>
        <p:spPr>
          <a:xfrm>
            <a:off x="10979875" y="6489701"/>
            <a:ext cx="720000" cy="2160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US" smtClean="0"/>
              <a:pPr/>
              <a:t>‹#›</a:t>
            </a:fld>
            <a:endParaRPr lang="en-US"/>
          </a:p>
        </p:txBody>
      </p:sp>
      <p:sp>
        <p:nvSpPr>
          <p:cNvPr id="91" name="Google Shape;91;p14"/>
          <p:cNvSpPr>
            <a:spLocks noGrp="1"/>
          </p:cNvSpPr>
          <p:nvPr>
            <p:ph type="pic" idx="2"/>
          </p:nvPr>
        </p:nvSpPr>
        <p:spPr>
          <a:xfrm>
            <a:off x="643891" y="1128411"/>
            <a:ext cx="5454000" cy="5039100"/>
          </a:xfrm>
          <a:prstGeom prst="rect">
            <a:avLst/>
          </a:prstGeom>
          <a:noFill/>
          <a:ln>
            <a:noFill/>
          </a:ln>
        </p:spPr>
        <p:txBody>
          <a:bodyPr spcFirstLastPara="1" wrap="square" lIns="91425" tIns="45700" rIns="91425" bIns="45700" anchor="ctr" anchorCtr="0">
            <a:noAutofit/>
          </a:bodyPr>
          <a:lstStyle>
            <a:lvl1pPr marR="0" lvl="0" algn="ctr" rtl="0">
              <a:lnSpc>
                <a:spcPct val="105000"/>
              </a:lnSpc>
              <a:spcBef>
                <a:spcPts val="0"/>
              </a:spcBef>
              <a:spcAft>
                <a:spcPts val="0"/>
              </a:spcAft>
              <a:buClr>
                <a:schemeClr val="dk2"/>
              </a:buClr>
              <a:buSzPts val="1200"/>
              <a:buFont typeface="Arial"/>
              <a:buNone/>
              <a:defRPr sz="1200" b="0" i="0" u="none" strike="noStrike" cap="none">
                <a:solidFill>
                  <a:schemeClr val="dk2"/>
                </a:solidFill>
                <a:latin typeface="Encode Sans"/>
                <a:ea typeface="Encode Sans"/>
                <a:cs typeface="Encode Sans"/>
                <a:sym typeface="Encode Sans"/>
              </a:defRPr>
            </a:lvl1pPr>
            <a:lvl2pPr marR="0" lvl="1" algn="l" rtl="0">
              <a:lnSpc>
                <a:spcPct val="105000"/>
              </a:lnSpc>
              <a:spcBef>
                <a:spcPts val="700"/>
              </a:spcBef>
              <a:spcAft>
                <a:spcPts val="0"/>
              </a:spcAft>
              <a:buClr>
                <a:schemeClr val="dk2"/>
              </a:buClr>
              <a:buSzPts val="2100"/>
              <a:buFont typeface="Arial"/>
              <a:buNone/>
              <a:defRPr sz="2100" b="0" i="0" u="none" strike="noStrike" cap="none">
                <a:solidFill>
                  <a:schemeClr val="dk2"/>
                </a:solidFill>
                <a:latin typeface="Encode Sans"/>
                <a:ea typeface="Encode Sans"/>
                <a:cs typeface="Encode Sans"/>
                <a:sym typeface="Encode Sans"/>
              </a:defRPr>
            </a:lvl2pPr>
            <a:lvl3pPr marR="0" lvl="2" algn="l" rtl="0">
              <a:lnSpc>
                <a:spcPct val="105000"/>
              </a:lnSpc>
              <a:spcBef>
                <a:spcPts val="700"/>
              </a:spcBef>
              <a:spcAft>
                <a:spcPts val="0"/>
              </a:spcAft>
              <a:buClr>
                <a:schemeClr val="dk2"/>
              </a:buClr>
              <a:buSzPts val="2160"/>
              <a:buFont typeface="Encode Sans"/>
              <a:buNone/>
              <a:defRPr sz="1800" b="0" i="0" u="none" strike="noStrike" cap="none">
                <a:solidFill>
                  <a:schemeClr val="dk2"/>
                </a:solidFill>
                <a:latin typeface="Encode Sans"/>
                <a:ea typeface="Encode Sans"/>
                <a:cs typeface="Encode Sans"/>
                <a:sym typeface="Encode Sans"/>
              </a:defRPr>
            </a:lvl3pPr>
            <a:lvl4pPr marR="0" lvl="3" algn="l" rtl="0">
              <a:lnSpc>
                <a:spcPct val="105000"/>
              </a:lnSpc>
              <a:spcBef>
                <a:spcPts val="400"/>
              </a:spcBef>
              <a:spcAft>
                <a:spcPts val="0"/>
              </a:spcAft>
              <a:buClr>
                <a:schemeClr val="dk2"/>
              </a:buClr>
              <a:buSzPts val="1500"/>
              <a:buFont typeface="Encode Sans"/>
              <a:buNone/>
              <a:defRPr sz="1500" b="1" i="0" u="none" strike="noStrike" cap="none">
                <a:solidFill>
                  <a:schemeClr val="dk2"/>
                </a:solidFill>
                <a:latin typeface="Encode Sans"/>
                <a:ea typeface="Encode Sans"/>
                <a:cs typeface="Encode Sans"/>
                <a:sym typeface="Encode Sans"/>
              </a:defRPr>
            </a:lvl4pPr>
            <a:lvl5pPr marR="0" lvl="4" algn="l" rtl="0">
              <a:lnSpc>
                <a:spcPct val="105000"/>
              </a:lnSpc>
              <a:spcBef>
                <a:spcPts val="400"/>
              </a:spcBef>
              <a:spcAft>
                <a:spcPts val="0"/>
              </a:spcAft>
              <a:buClr>
                <a:schemeClr val="dk2"/>
              </a:buClr>
              <a:buSzPts val="1500"/>
              <a:buFont typeface="Arial"/>
              <a:buNone/>
              <a:defRPr sz="1500" b="0" i="0" u="none" strike="noStrike" cap="none">
                <a:solidFill>
                  <a:schemeClr val="dk2"/>
                </a:solidFill>
                <a:latin typeface="Encode Sans"/>
                <a:ea typeface="Encode Sans"/>
                <a:cs typeface="Encode Sans"/>
                <a:sym typeface="Encode Sans"/>
              </a:defRPr>
            </a:lvl5pPr>
            <a:lvl6pPr marR="0" lvl="5" algn="l" rtl="0">
              <a:lnSpc>
                <a:spcPct val="90000"/>
              </a:lnSpc>
              <a:spcBef>
                <a:spcPts val="375"/>
              </a:spcBef>
              <a:spcAft>
                <a:spcPts val="0"/>
              </a:spcAft>
              <a:buClr>
                <a:schemeClr val="dk1"/>
              </a:buClr>
              <a:buSzPts val="1500"/>
              <a:buFont typeface="Arial"/>
              <a:buNone/>
              <a:defRPr sz="1500" b="0" i="0" u="none" strike="noStrike" cap="none">
                <a:solidFill>
                  <a:schemeClr val="dk1"/>
                </a:solidFill>
                <a:latin typeface="Encode Sans"/>
                <a:ea typeface="Encode Sans"/>
                <a:cs typeface="Encode Sans"/>
                <a:sym typeface="Encode Sans"/>
              </a:defRPr>
            </a:lvl6pPr>
            <a:lvl7pPr marR="0" lvl="6" algn="l" rtl="0">
              <a:lnSpc>
                <a:spcPct val="90000"/>
              </a:lnSpc>
              <a:spcBef>
                <a:spcPts val="375"/>
              </a:spcBef>
              <a:spcAft>
                <a:spcPts val="0"/>
              </a:spcAft>
              <a:buClr>
                <a:schemeClr val="dk1"/>
              </a:buClr>
              <a:buSzPts val="1500"/>
              <a:buFont typeface="Arial"/>
              <a:buNone/>
              <a:defRPr sz="1500" b="0" i="0" u="none" strike="noStrike" cap="none">
                <a:solidFill>
                  <a:schemeClr val="dk1"/>
                </a:solidFill>
                <a:latin typeface="Encode Sans"/>
                <a:ea typeface="Encode Sans"/>
                <a:cs typeface="Encode Sans"/>
                <a:sym typeface="Encode Sans"/>
              </a:defRPr>
            </a:lvl7pPr>
            <a:lvl8pPr marR="0" lvl="7" algn="l" rtl="0">
              <a:lnSpc>
                <a:spcPct val="90000"/>
              </a:lnSpc>
              <a:spcBef>
                <a:spcPts val="375"/>
              </a:spcBef>
              <a:spcAft>
                <a:spcPts val="0"/>
              </a:spcAft>
              <a:buClr>
                <a:schemeClr val="dk1"/>
              </a:buClr>
              <a:buSzPts val="1500"/>
              <a:buFont typeface="Arial"/>
              <a:buNone/>
              <a:defRPr sz="1500" b="0" i="0" u="none" strike="noStrike" cap="none">
                <a:solidFill>
                  <a:schemeClr val="dk1"/>
                </a:solidFill>
                <a:latin typeface="Encode Sans"/>
                <a:ea typeface="Encode Sans"/>
                <a:cs typeface="Encode Sans"/>
                <a:sym typeface="Encode Sans"/>
              </a:defRPr>
            </a:lvl8pPr>
            <a:lvl9pPr marR="0" lvl="8" algn="l" rtl="0">
              <a:lnSpc>
                <a:spcPct val="90000"/>
              </a:lnSpc>
              <a:spcBef>
                <a:spcPts val="375"/>
              </a:spcBef>
              <a:spcAft>
                <a:spcPts val="0"/>
              </a:spcAft>
              <a:buClr>
                <a:schemeClr val="dk1"/>
              </a:buClr>
              <a:buSzPts val="1500"/>
              <a:buFont typeface="Arial"/>
              <a:buNone/>
              <a:defRPr sz="1500" b="0" i="0" u="none" strike="noStrike" cap="none">
                <a:solidFill>
                  <a:schemeClr val="dk1"/>
                </a:solidFill>
                <a:latin typeface="Encode Sans"/>
                <a:ea typeface="Encode Sans"/>
                <a:cs typeface="Encode Sans"/>
                <a:sym typeface="Encode Sans"/>
              </a:defRPr>
            </a:lvl9pPr>
          </a:lstStyle>
          <a:p>
            <a:endParaRPr/>
          </a:p>
        </p:txBody>
      </p:sp>
      <p:sp>
        <p:nvSpPr>
          <p:cNvPr id="92" name="Google Shape;92;p14"/>
          <p:cNvSpPr txBox="1">
            <a:spLocks noGrp="1"/>
          </p:cNvSpPr>
          <p:nvPr>
            <p:ph type="title"/>
          </p:nvPr>
        </p:nvSpPr>
        <p:spPr>
          <a:xfrm>
            <a:off x="6094800" y="1128411"/>
            <a:ext cx="5500800" cy="5039100"/>
          </a:xfrm>
          <a:prstGeom prst="rect">
            <a:avLst/>
          </a:prstGeom>
          <a:solidFill>
            <a:schemeClr val="dk2"/>
          </a:solidFill>
          <a:ln>
            <a:noFill/>
          </a:ln>
        </p:spPr>
        <p:txBody>
          <a:bodyPr spcFirstLastPara="1" wrap="square" lIns="648000" tIns="360000" rIns="360000" bIns="360000" anchor="ctr" anchorCtr="0">
            <a:noAutofit/>
          </a:bodyPr>
          <a:lstStyle>
            <a:lvl1pPr lvl="0" algn="l" rtl="0">
              <a:lnSpc>
                <a:spcPct val="95000"/>
              </a:lnSpc>
              <a:spcBef>
                <a:spcPts val="0"/>
              </a:spcBef>
              <a:spcAft>
                <a:spcPts val="0"/>
              </a:spcAft>
              <a:buClr>
                <a:schemeClr val="lt1"/>
              </a:buClr>
              <a:buSzPts val="2400"/>
              <a:buFont typeface="Encode Sans"/>
              <a:buNone/>
              <a:defRPr sz="2400">
                <a:solidFill>
                  <a:schemeClr val="l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93" name="Google Shape;93;p14"/>
          <p:cNvSpPr txBox="1">
            <a:spLocks noGrp="1"/>
          </p:cNvSpPr>
          <p:nvPr>
            <p:ph type="body" idx="3"/>
          </p:nvPr>
        </p:nvSpPr>
        <p:spPr>
          <a:xfrm rot="5400000">
            <a:off x="5475774" y="3525788"/>
            <a:ext cx="1500900" cy="286800"/>
          </a:xfrm>
          <a:prstGeom prst="rect">
            <a:avLst/>
          </a:prstGeom>
          <a:solidFill>
            <a:srgbClr val="92A2E1"/>
          </a:solidFill>
          <a:ln>
            <a:noFill/>
          </a:ln>
        </p:spPr>
        <p:txBody>
          <a:bodyPr spcFirstLastPara="1" wrap="square" lIns="91425" tIns="45700" rIns="91425" bIns="45700" anchor="t" anchorCtr="0">
            <a:noAutofit/>
          </a:bodyPr>
          <a:lstStyle>
            <a:lvl1pPr marL="457189" lvl="0" indent="-228594" algn="l" rtl="0">
              <a:lnSpc>
                <a:spcPct val="105000"/>
              </a:lnSpc>
              <a:spcBef>
                <a:spcPts val="0"/>
              </a:spcBef>
              <a:spcAft>
                <a:spcPts val="0"/>
              </a:spcAft>
              <a:buClr>
                <a:schemeClr val="dk2"/>
              </a:buClr>
              <a:buSzPts val="1800"/>
              <a:buNone/>
              <a:defRPr/>
            </a:lvl1pPr>
            <a:lvl2pPr marL="914377" lvl="1" indent="-342891" algn="l" rtl="0">
              <a:lnSpc>
                <a:spcPct val="105000"/>
              </a:lnSpc>
              <a:spcBef>
                <a:spcPts val="700"/>
              </a:spcBef>
              <a:spcAft>
                <a:spcPts val="0"/>
              </a:spcAft>
              <a:buClr>
                <a:schemeClr val="dk2"/>
              </a:buClr>
              <a:buSzPts val="1800"/>
              <a:buChar char="•"/>
              <a:defRPr/>
            </a:lvl2pPr>
            <a:lvl3pPr marL="1371566" lvl="2" indent="-228594" algn="l" rtl="0">
              <a:lnSpc>
                <a:spcPct val="105000"/>
              </a:lnSpc>
              <a:spcBef>
                <a:spcPts val="700"/>
              </a:spcBef>
              <a:spcAft>
                <a:spcPts val="0"/>
              </a:spcAft>
              <a:buClr>
                <a:schemeClr val="dk2"/>
              </a:buClr>
              <a:buSzPts val="2160"/>
              <a:buNone/>
              <a:defRPr/>
            </a:lvl3pPr>
            <a:lvl4pPr marL="1828754" lvl="3" indent="-228594" algn="l" rtl="0">
              <a:lnSpc>
                <a:spcPct val="105000"/>
              </a:lnSpc>
              <a:spcBef>
                <a:spcPts val="400"/>
              </a:spcBef>
              <a:spcAft>
                <a:spcPts val="0"/>
              </a:spcAft>
              <a:buClr>
                <a:schemeClr val="dk2"/>
              </a:buClr>
              <a:buSzPts val="1800"/>
              <a:buNone/>
              <a:defRPr/>
            </a:lvl4pPr>
            <a:lvl5pPr marL="2285943" lvl="4" indent="-342891" algn="l" rtl="0">
              <a:lnSpc>
                <a:spcPct val="105000"/>
              </a:lnSpc>
              <a:spcBef>
                <a:spcPts val="400"/>
              </a:spcBef>
              <a:spcAft>
                <a:spcPts val="0"/>
              </a:spcAft>
              <a:buClr>
                <a:schemeClr val="dk2"/>
              </a:buClr>
              <a:buSzPts val="1800"/>
              <a:buChar char="•"/>
              <a:defRPr/>
            </a:lvl5pPr>
            <a:lvl6pPr marL="2743131" lvl="5" indent="-342891" algn="l" rtl="0">
              <a:lnSpc>
                <a:spcPct val="90000"/>
              </a:lnSpc>
              <a:spcBef>
                <a:spcPts val="375"/>
              </a:spcBef>
              <a:spcAft>
                <a:spcPts val="0"/>
              </a:spcAft>
              <a:buClr>
                <a:schemeClr val="dk1"/>
              </a:buClr>
              <a:buSzPts val="1800"/>
              <a:buChar char="•"/>
              <a:defRPr/>
            </a:lvl6pPr>
            <a:lvl7pPr marL="3200320" lvl="6" indent="-342891" algn="l" rtl="0">
              <a:lnSpc>
                <a:spcPct val="90000"/>
              </a:lnSpc>
              <a:spcBef>
                <a:spcPts val="375"/>
              </a:spcBef>
              <a:spcAft>
                <a:spcPts val="0"/>
              </a:spcAft>
              <a:buClr>
                <a:schemeClr val="dk1"/>
              </a:buClr>
              <a:buSzPts val="1800"/>
              <a:buChar char="•"/>
              <a:defRPr/>
            </a:lvl7pPr>
            <a:lvl8pPr marL="3657509" lvl="7" indent="-342891" algn="l" rtl="0">
              <a:lnSpc>
                <a:spcPct val="90000"/>
              </a:lnSpc>
              <a:spcBef>
                <a:spcPts val="375"/>
              </a:spcBef>
              <a:spcAft>
                <a:spcPts val="0"/>
              </a:spcAft>
              <a:buClr>
                <a:schemeClr val="dk1"/>
              </a:buClr>
              <a:buSzPts val="1800"/>
              <a:buChar char="•"/>
              <a:defRPr/>
            </a:lvl8pPr>
            <a:lvl9pPr marL="4114697" lvl="8" indent="-342891" algn="l" rtl="0">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9870724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A94DE-9950-4692-9030-42A68DD19F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6D6B66-E90E-470C-AC6C-E286A12907B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27C87FA-09FF-479B-8141-73CDB35DF532}"/>
              </a:ext>
            </a:extLst>
          </p:cNvPr>
          <p:cNvSpPr>
            <a:spLocks noGrp="1"/>
          </p:cNvSpPr>
          <p:nvPr>
            <p:ph type="dt" sz="half" idx="10"/>
          </p:nvPr>
        </p:nvSpPr>
        <p:spPr/>
        <p:txBody>
          <a:bodyPr/>
          <a:lstStyle/>
          <a:p>
            <a:r>
              <a:rPr lang="en-US" dirty="0"/>
              <a:t>Sep 2024</a:t>
            </a:r>
          </a:p>
        </p:txBody>
      </p:sp>
      <p:sp>
        <p:nvSpPr>
          <p:cNvPr id="5" name="Footer Placeholder 4">
            <a:extLst>
              <a:ext uri="{FF2B5EF4-FFF2-40B4-BE49-F238E27FC236}">
                <a16:creationId xmlns:a16="http://schemas.microsoft.com/office/drawing/2014/main" id="{9F615D51-493C-4708-900C-C03A2EDA8EE5}"/>
              </a:ext>
            </a:extLst>
          </p:cNvPr>
          <p:cNvSpPr>
            <a:spLocks noGrp="1"/>
          </p:cNvSpPr>
          <p:nvPr>
            <p:ph type="ftr" sz="quarter" idx="11"/>
          </p:nvPr>
        </p:nvSpPr>
        <p:spPr/>
        <p:txBody>
          <a:bodyPr/>
          <a:lstStyle>
            <a:lvl1pPr>
              <a:defRPr/>
            </a:lvl1pPr>
          </a:lstStyle>
          <a:p>
            <a:r>
              <a:rPr lang="en-US" dirty="0"/>
              <a:t>OSPO</a:t>
            </a:r>
          </a:p>
        </p:txBody>
      </p:sp>
      <p:sp>
        <p:nvSpPr>
          <p:cNvPr id="6" name="Slide Number Placeholder 5">
            <a:extLst>
              <a:ext uri="{FF2B5EF4-FFF2-40B4-BE49-F238E27FC236}">
                <a16:creationId xmlns:a16="http://schemas.microsoft.com/office/drawing/2014/main" id="{730A589D-EDD4-4B3C-8F06-8DE99CF1FA3F}"/>
              </a:ext>
            </a:extLst>
          </p:cNvPr>
          <p:cNvSpPr>
            <a:spLocks noGrp="1"/>
          </p:cNvSpPr>
          <p:nvPr>
            <p:ph type="sldNum" sz="quarter" idx="12"/>
          </p:nvPr>
        </p:nvSpPr>
        <p:spPr/>
        <p:txBody>
          <a:bodyPr/>
          <a:lstStyle/>
          <a:p>
            <a:fld id="{627A6445-FEA1-42B8-B0C3-C3D065FA2AC5}" type="slidenum">
              <a:rPr lang="en-US" smtClean="0"/>
              <a:t>‹#›</a:t>
            </a:fld>
            <a:endParaRPr lang="en-US"/>
          </a:p>
        </p:txBody>
      </p:sp>
    </p:spTree>
    <p:extLst>
      <p:ext uri="{BB962C8B-B14F-4D97-AF65-F5344CB8AC3E}">
        <p14:creationId xmlns:p14="http://schemas.microsoft.com/office/powerpoint/2010/main" val="13295673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8977D-AED3-447E-9FCB-2BDDAF93761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71C35F7-F16A-4262-B82F-42E370122F0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48BCADC-9AA4-42D3-BAEA-8CB9B4462E1A}"/>
              </a:ext>
            </a:extLst>
          </p:cNvPr>
          <p:cNvSpPr>
            <a:spLocks noGrp="1"/>
          </p:cNvSpPr>
          <p:nvPr>
            <p:ph type="dt" sz="half" idx="10"/>
          </p:nvPr>
        </p:nvSpPr>
        <p:spPr/>
        <p:txBody>
          <a:bodyPr/>
          <a:lstStyle/>
          <a:p>
            <a:r>
              <a:rPr lang="en-US"/>
              <a:t>Nov 2023</a:t>
            </a:r>
          </a:p>
        </p:txBody>
      </p:sp>
      <p:sp>
        <p:nvSpPr>
          <p:cNvPr id="5" name="Footer Placeholder 4">
            <a:extLst>
              <a:ext uri="{FF2B5EF4-FFF2-40B4-BE49-F238E27FC236}">
                <a16:creationId xmlns:a16="http://schemas.microsoft.com/office/drawing/2014/main" id="{D4127B4A-128F-40D9-8EEF-3AD3D85A00F7}"/>
              </a:ext>
            </a:extLst>
          </p:cNvPr>
          <p:cNvSpPr>
            <a:spLocks noGrp="1"/>
          </p:cNvSpPr>
          <p:nvPr>
            <p:ph type="ftr" sz="quarter" idx="11"/>
          </p:nvPr>
        </p:nvSpPr>
        <p:spPr/>
        <p:txBody>
          <a:bodyPr/>
          <a:lstStyle/>
          <a:p>
            <a:r>
              <a:rPr lang="en-US"/>
              <a:t>Stellantis Internal | FOSS Office</a:t>
            </a:r>
          </a:p>
        </p:txBody>
      </p:sp>
      <p:sp>
        <p:nvSpPr>
          <p:cNvPr id="6" name="Slide Number Placeholder 5">
            <a:extLst>
              <a:ext uri="{FF2B5EF4-FFF2-40B4-BE49-F238E27FC236}">
                <a16:creationId xmlns:a16="http://schemas.microsoft.com/office/drawing/2014/main" id="{56A5E1E3-DB4F-4902-A95B-85BFC6A85C69}"/>
              </a:ext>
            </a:extLst>
          </p:cNvPr>
          <p:cNvSpPr>
            <a:spLocks noGrp="1"/>
          </p:cNvSpPr>
          <p:nvPr>
            <p:ph type="sldNum" sz="quarter" idx="12"/>
          </p:nvPr>
        </p:nvSpPr>
        <p:spPr/>
        <p:txBody>
          <a:bodyPr/>
          <a:lstStyle/>
          <a:p>
            <a:fld id="{627A6445-FEA1-42B8-B0C3-C3D065FA2AC5}" type="slidenum">
              <a:rPr lang="en-US" smtClean="0"/>
              <a:t>‹#›</a:t>
            </a:fld>
            <a:endParaRPr lang="en-US"/>
          </a:p>
        </p:txBody>
      </p:sp>
    </p:spTree>
    <p:extLst>
      <p:ext uri="{BB962C8B-B14F-4D97-AF65-F5344CB8AC3E}">
        <p14:creationId xmlns:p14="http://schemas.microsoft.com/office/powerpoint/2010/main" val="26412102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3CE897-E182-4114-89C4-912D98D4E3A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0F7DFD1-81CF-4304-97BE-DC1AC43255E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3EABE21-DFBD-4E82-BE40-7DDA225D018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9B4EDF7-020B-49D3-80D9-47BCF4AC8112}"/>
              </a:ext>
            </a:extLst>
          </p:cNvPr>
          <p:cNvSpPr>
            <a:spLocks noGrp="1"/>
          </p:cNvSpPr>
          <p:nvPr>
            <p:ph type="dt" sz="half" idx="10"/>
          </p:nvPr>
        </p:nvSpPr>
        <p:spPr/>
        <p:txBody>
          <a:bodyPr/>
          <a:lstStyle/>
          <a:p>
            <a:r>
              <a:rPr lang="en-US"/>
              <a:t>Nov 2023</a:t>
            </a:r>
          </a:p>
        </p:txBody>
      </p:sp>
      <p:sp>
        <p:nvSpPr>
          <p:cNvPr id="6" name="Footer Placeholder 5">
            <a:extLst>
              <a:ext uri="{FF2B5EF4-FFF2-40B4-BE49-F238E27FC236}">
                <a16:creationId xmlns:a16="http://schemas.microsoft.com/office/drawing/2014/main" id="{166E97CD-E639-48B1-9544-E6219D71E9A0}"/>
              </a:ext>
            </a:extLst>
          </p:cNvPr>
          <p:cNvSpPr>
            <a:spLocks noGrp="1"/>
          </p:cNvSpPr>
          <p:nvPr>
            <p:ph type="ftr" sz="quarter" idx="11"/>
          </p:nvPr>
        </p:nvSpPr>
        <p:spPr/>
        <p:txBody>
          <a:bodyPr/>
          <a:lstStyle/>
          <a:p>
            <a:r>
              <a:rPr lang="en-US"/>
              <a:t>Stellantis Internal | FOSS Office</a:t>
            </a:r>
          </a:p>
        </p:txBody>
      </p:sp>
      <p:sp>
        <p:nvSpPr>
          <p:cNvPr id="7" name="Slide Number Placeholder 6">
            <a:extLst>
              <a:ext uri="{FF2B5EF4-FFF2-40B4-BE49-F238E27FC236}">
                <a16:creationId xmlns:a16="http://schemas.microsoft.com/office/drawing/2014/main" id="{BD4D90FA-7BB4-4AA7-8C18-8D551C97D795}"/>
              </a:ext>
            </a:extLst>
          </p:cNvPr>
          <p:cNvSpPr>
            <a:spLocks noGrp="1"/>
          </p:cNvSpPr>
          <p:nvPr>
            <p:ph type="sldNum" sz="quarter" idx="12"/>
          </p:nvPr>
        </p:nvSpPr>
        <p:spPr/>
        <p:txBody>
          <a:bodyPr/>
          <a:lstStyle/>
          <a:p>
            <a:fld id="{627A6445-FEA1-42B8-B0C3-C3D065FA2AC5}" type="slidenum">
              <a:rPr lang="en-US" smtClean="0"/>
              <a:t>‹#›</a:t>
            </a:fld>
            <a:endParaRPr lang="en-US"/>
          </a:p>
        </p:txBody>
      </p:sp>
    </p:spTree>
    <p:extLst>
      <p:ext uri="{BB962C8B-B14F-4D97-AF65-F5344CB8AC3E}">
        <p14:creationId xmlns:p14="http://schemas.microsoft.com/office/powerpoint/2010/main" val="30632226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CAB9DE-026C-4D42-AAE6-F04709BC203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7D4E450-0187-43D5-9E4B-98346246F4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CE75C7E-AB2C-4D68-98C9-C7D1473F9A5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09CA042-8B42-4F15-9BCF-C7D22CD3D5A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438B532-EA9A-408F-8024-BB3BB88491F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0DD6FCF-D5BB-4A11-8313-F8CC92911F22}"/>
              </a:ext>
            </a:extLst>
          </p:cNvPr>
          <p:cNvSpPr>
            <a:spLocks noGrp="1"/>
          </p:cNvSpPr>
          <p:nvPr>
            <p:ph type="dt" sz="half" idx="10"/>
          </p:nvPr>
        </p:nvSpPr>
        <p:spPr/>
        <p:txBody>
          <a:bodyPr/>
          <a:lstStyle/>
          <a:p>
            <a:r>
              <a:rPr lang="en-US"/>
              <a:t>Nov 2023</a:t>
            </a:r>
          </a:p>
        </p:txBody>
      </p:sp>
      <p:sp>
        <p:nvSpPr>
          <p:cNvPr id="8" name="Footer Placeholder 7">
            <a:extLst>
              <a:ext uri="{FF2B5EF4-FFF2-40B4-BE49-F238E27FC236}">
                <a16:creationId xmlns:a16="http://schemas.microsoft.com/office/drawing/2014/main" id="{219E97B1-1909-4E50-9ACE-B36BDE35E853}"/>
              </a:ext>
            </a:extLst>
          </p:cNvPr>
          <p:cNvSpPr>
            <a:spLocks noGrp="1"/>
          </p:cNvSpPr>
          <p:nvPr>
            <p:ph type="ftr" sz="quarter" idx="11"/>
          </p:nvPr>
        </p:nvSpPr>
        <p:spPr/>
        <p:txBody>
          <a:bodyPr/>
          <a:lstStyle/>
          <a:p>
            <a:r>
              <a:rPr lang="en-US"/>
              <a:t>Stellantis Internal | FOSS Office</a:t>
            </a:r>
          </a:p>
        </p:txBody>
      </p:sp>
      <p:sp>
        <p:nvSpPr>
          <p:cNvPr id="9" name="Slide Number Placeholder 8">
            <a:extLst>
              <a:ext uri="{FF2B5EF4-FFF2-40B4-BE49-F238E27FC236}">
                <a16:creationId xmlns:a16="http://schemas.microsoft.com/office/drawing/2014/main" id="{165BF51A-C87D-457A-895B-363A6E1AC103}"/>
              </a:ext>
            </a:extLst>
          </p:cNvPr>
          <p:cNvSpPr>
            <a:spLocks noGrp="1"/>
          </p:cNvSpPr>
          <p:nvPr>
            <p:ph type="sldNum" sz="quarter" idx="12"/>
          </p:nvPr>
        </p:nvSpPr>
        <p:spPr/>
        <p:txBody>
          <a:bodyPr/>
          <a:lstStyle/>
          <a:p>
            <a:fld id="{627A6445-FEA1-42B8-B0C3-C3D065FA2AC5}" type="slidenum">
              <a:rPr lang="en-US" smtClean="0"/>
              <a:t>‹#›</a:t>
            </a:fld>
            <a:endParaRPr lang="en-US"/>
          </a:p>
        </p:txBody>
      </p:sp>
    </p:spTree>
    <p:extLst>
      <p:ext uri="{BB962C8B-B14F-4D97-AF65-F5344CB8AC3E}">
        <p14:creationId xmlns:p14="http://schemas.microsoft.com/office/powerpoint/2010/main" val="7122186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709B8E-C5C5-4A46-A31C-3AEC61F8599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73DBB9C-826C-4754-9856-C91955B2DFD4}"/>
              </a:ext>
            </a:extLst>
          </p:cNvPr>
          <p:cNvSpPr>
            <a:spLocks noGrp="1"/>
          </p:cNvSpPr>
          <p:nvPr>
            <p:ph type="dt" sz="half" idx="10"/>
          </p:nvPr>
        </p:nvSpPr>
        <p:spPr/>
        <p:txBody>
          <a:bodyPr/>
          <a:lstStyle/>
          <a:p>
            <a:r>
              <a:rPr lang="en-US"/>
              <a:t>Nov 2023</a:t>
            </a:r>
          </a:p>
        </p:txBody>
      </p:sp>
      <p:sp>
        <p:nvSpPr>
          <p:cNvPr id="4" name="Footer Placeholder 3">
            <a:extLst>
              <a:ext uri="{FF2B5EF4-FFF2-40B4-BE49-F238E27FC236}">
                <a16:creationId xmlns:a16="http://schemas.microsoft.com/office/drawing/2014/main" id="{8CFE24C8-5FD2-42A1-9F8B-A0550F962B9F}"/>
              </a:ext>
            </a:extLst>
          </p:cNvPr>
          <p:cNvSpPr>
            <a:spLocks noGrp="1"/>
          </p:cNvSpPr>
          <p:nvPr>
            <p:ph type="ftr" sz="quarter" idx="11"/>
          </p:nvPr>
        </p:nvSpPr>
        <p:spPr/>
        <p:txBody>
          <a:bodyPr/>
          <a:lstStyle/>
          <a:p>
            <a:r>
              <a:rPr lang="en-US"/>
              <a:t>Stellantis Internal | FOSS Office</a:t>
            </a:r>
          </a:p>
        </p:txBody>
      </p:sp>
      <p:sp>
        <p:nvSpPr>
          <p:cNvPr id="5" name="Slide Number Placeholder 4">
            <a:extLst>
              <a:ext uri="{FF2B5EF4-FFF2-40B4-BE49-F238E27FC236}">
                <a16:creationId xmlns:a16="http://schemas.microsoft.com/office/drawing/2014/main" id="{C2D65056-CB72-4223-BE53-BC6349024C9B}"/>
              </a:ext>
            </a:extLst>
          </p:cNvPr>
          <p:cNvSpPr>
            <a:spLocks noGrp="1"/>
          </p:cNvSpPr>
          <p:nvPr>
            <p:ph type="sldNum" sz="quarter" idx="12"/>
          </p:nvPr>
        </p:nvSpPr>
        <p:spPr/>
        <p:txBody>
          <a:bodyPr/>
          <a:lstStyle/>
          <a:p>
            <a:fld id="{627A6445-FEA1-42B8-B0C3-C3D065FA2AC5}" type="slidenum">
              <a:rPr lang="en-US" smtClean="0"/>
              <a:t>‹#›</a:t>
            </a:fld>
            <a:endParaRPr lang="en-US"/>
          </a:p>
        </p:txBody>
      </p:sp>
    </p:spTree>
    <p:extLst>
      <p:ext uri="{BB962C8B-B14F-4D97-AF65-F5344CB8AC3E}">
        <p14:creationId xmlns:p14="http://schemas.microsoft.com/office/powerpoint/2010/main" val="25165048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9CB12FD-A3C8-46C6-BF18-581FC7B1FC3B}"/>
              </a:ext>
            </a:extLst>
          </p:cNvPr>
          <p:cNvSpPr>
            <a:spLocks noGrp="1"/>
          </p:cNvSpPr>
          <p:nvPr>
            <p:ph type="dt" sz="half" idx="10"/>
          </p:nvPr>
        </p:nvSpPr>
        <p:spPr/>
        <p:txBody>
          <a:bodyPr/>
          <a:lstStyle/>
          <a:p>
            <a:r>
              <a:rPr lang="en-US"/>
              <a:t>Nov 2023</a:t>
            </a:r>
          </a:p>
        </p:txBody>
      </p:sp>
      <p:sp>
        <p:nvSpPr>
          <p:cNvPr id="3" name="Footer Placeholder 2">
            <a:extLst>
              <a:ext uri="{FF2B5EF4-FFF2-40B4-BE49-F238E27FC236}">
                <a16:creationId xmlns:a16="http://schemas.microsoft.com/office/drawing/2014/main" id="{C9A1EB01-8B69-461C-83C3-01C5DDDA9038}"/>
              </a:ext>
            </a:extLst>
          </p:cNvPr>
          <p:cNvSpPr>
            <a:spLocks noGrp="1"/>
          </p:cNvSpPr>
          <p:nvPr>
            <p:ph type="ftr" sz="quarter" idx="11"/>
          </p:nvPr>
        </p:nvSpPr>
        <p:spPr/>
        <p:txBody>
          <a:bodyPr/>
          <a:lstStyle/>
          <a:p>
            <a:r>
              <a:rPr lang="en-US"/>
              <a:t>Stellantis Internal | FOSS Office</a:t>
            </a:r>
          </a:p>
        </p:txBody>
      </p:sp>
      <p:sp>
        <p:nvSpPr>
          <p:cNvPr id="4" name="Slide Number Placeholder 3">
            <a:extLst>
              <a:ext uri="{FF2B5EF4-FFF2-40B4-BE49-F238E27FC236}">
                <a16:creationId xmlns:a16="http://schemas.microsoft.com/office/drawing/2014/main" id="{46052FEF-54FA-439D-8663-7C716ABFF04F}"/>
              </a:ext>
            </a:extLst>
          </p:cNvPr>
          <p:cNvSpPr>
            <a:spLocks noGrp="1"/>
          </p:cNvSpPr>
          <p:nvPr>
            <p:ph type="sldNum" sz="quarter" idx="12"/>
          </p:nvPr>
        </p:nvSpPr>
        <p:spPr/>
        <p:txBody>
          <a:bodyPr/>
          <a:lstStyle/>
          <a:p>
            <a:fld id="{627A6445-FEA1-42B8-B0C3-C3D065FA2AC5}" type="slidenum">
              <a:rPr lang="en-US" smtClean="0"/>
              <a:t>‹#›</a:t>
            </a:fld>
            <a:endParaRPr lang="en-US"/>
          </a:p>
        </p:txBody>
      </p:sp>
    </p:spTree>
    <p:extLst>
      <p:ext uri="{BB962C8B-B14F-4D97-AF65-F5344CB8AC3E}">
        <p14:creationId xmlns:p14="http://schemas.microsoft.com/office/powerpoint/2010/main" val="23692554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2A0C9A-1E81-4DAB-9CC1-DE87DA7DA7C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E773308-0B2B-4710-B799-ECA4457B478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427813E-C7FA-43FA-8889-30A78739314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296818D-4BCE-4056-8DF9-236CF4F1C4B8}"/>
              </a:ext>
            </a:extLst>
          </p:cNvPr>
          <p:cNvSpPr>
            <a:spLocks noGrp="1"/>
          </p:cNvSpPr>
          <p:nvPr>
            <p:ph type="dt" sz="half" idx="10"/>
          </p:nvPr>
        </p:nvSpPr>
        <p:spPr/>
        <p:txBody>
          <a:bodyPr/>
          <a:lstStyle/>
          <a:p>
            <a:r>
              <a:rPr lang="en-US"/>
              <a:t>Nov 2023</a:t>
            </a:r>
          </a:p>
        </p:txBody>
      </p:sp>
      <p:sp>
        <p:nvSpPr>
          <p:cNvPr id="6" name="Footer Placeholder 5">
            <a:extLst>
              <a:ext uri="{FF2B5EF4-FFF2-40B4-BE49-F238E27FC236}">
                <a16:creationId xmlns:a16="http://schemas.microsoft.com/office/drawing/2014/main" id="{F223CA63-E648-43AD-84A8-CC34E38897E3}"/>
              </a:ext>
            </a:extLst>
          </p:cNvPr>
          <p:cNvSpPr>
            <a:spLocks noGrp="1"/>
          </p:cNvSpPr>
          <p:nvPr>
            <p:ph type="ftr" sz="quarter" idx="11"/>
          </p:nvPr>
        </p:nvSpPr>
        <p:spPr/>
        <p:txBody>
          <a:bodyPr/>
          <a:lstStyle/>
          <a:p>
            <a:r>
              <a:rPr lang="en-US"/>
              <a:t>Stellantis Internal | FOSS Office</a:t>
            </a:r>
          </a:p>
        </p:txBody>
      </p:sp>
      <p:sp>
        <p:nvSpPr>
          <p:cNvPr id="7" name="Slide Number Placeholder 6">
            <a:extLst>
              <a:ext uri="{FF2B5EF4-FFF2-40B4-BE49-F238E27FC236}">
                <a16:creationId xmlns:a16="http://schemas.microsoft.com/office/drawing/2014/main" id="{44608451-7B7D-49CD-8FF0-DF7EFC4C0A7C}"/>
              </a:ext>
            </a:extLst>
          </p:cNvPr>
          <p:cNvSpPr>
            <a:spLocks noGrp="1"/>
          </p:cNvSpPr>
          <p:nvPr>
            <p:ph type="sldNum" sz="quarter" idx="12"/>
          </p:nvPr>
        </p:nvSpPr>
        <p:spPr/>
        <p:txBody>
          <a:bodyPr/>
          <a:lstStyle/>
          <a:p>
            <a:fld id="{627A6445-FEA1-42B8-B0C3-C3D065FA2AC5}" type="slidenum">
              <a:rPr lang="en-US" smtClean="0"/>
              <a:t>‹#›</a:t>
            </a:fld>
            <a:endParaRPr lang="en-US"/>
          </a:p>
        </p:txBody>
      </p:sp>
    </p:spTree>
    <p:extLst>
      <p:ext uri="{BB962C8B-B14F-4D97-AF65-F5344CB8AC3E}">
        <p14:creationId xmlns:p14="http://schemas.microsoft.com/office/powerpoint/2010/main" val="25340359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F3A7CF-61EB-41CA-8955-3D4802215B8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66ADC8C-C311-4D62-AB9B-BDA90881203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FC5757F-B1D2-4E3A-95FA-95E4628EE06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33BB300-496A-474D-957B-00B747B4D691}"/>
              </a:ext>
            </a:extLst>
          </p:cNvPr>
          <p:cNvSpPr>
            <a:spLocks noGrp="1"/>
          </p:cNvSpPr>
          <p:nvPr>
            <p:ph type="dt" sz="half" idx="10"/>
          </p:nvPr>
        </p:nvSpPr>
        <p:spPr/>
        <p:txBody>
          <a:bodyPr/>
          <a:lstStyle/>
          <a:p>
            <a:r>
              <a:rPr lang="en-US"/>
              <a:t>Nov 2023</a:t>
            </a:r>
          </a:p>
        </p:txBody>
      </p:sp>
      <p:sp>
        <p:nvSpPr>
          <p:cNvPr id="6" name="Footer Placeholder 5">
            <a:extLst>
              <a:ext uri="{FF2B5EF4-FFF2-40B4-BE49-F238E27FC236}">
                <a16:creationId xmlns:a16="http://schemas.microsoft.com/office/drawing/2014/main" id="{43C947B0-F698-4F21-8CAB-062FCDD61A26}"/>
              </a:ext>
            </a:extLst>
          </p:cNvPr>
          <p:cNvSpPr>
            <a:spLocks noGrp="1"/>
          </p:cNvSpPr>
          <p:nvPr>
            <p:ph type="ftr" sz="quarter" idx="11"/>
          </p:nvPr>
        </p:nvSpPr>
        <p:spPr/>
        <p:txBody>
          <a:bodyPr/>
          <a:lstStyle/>
          <a:p>
            <a:r>
              <a:rPr lang="en-US"/>
              <a:t>Stellantis Internal | FOSS Office</a:t>
            </a:r>
          </a:p>
        </p:txBody>
      </p:sp>
      <p:sp>
        <p:nvSpPr>
          <p:cNvPr id="7" name="Slide Number Placeholder 6">
            <a:extLst>
              <a:ext uri="{FF2B5EF4-FFF2-40B4-BE49-F238E27FC236}">
                <a16:creationId xmlns:a16="http://schemas.microsoft.com/office/drawing/2014/main" id="{567E4DF4-DAB4-4F0C-90B2-867133D6F263}"/>
              </a:ext>
            </a:extLst>
          </p:cNvPr>
          <p:cNvSpPr>
            <a:spLocks noGrp="1"/>
          </p:cNvSpPr>
          <p:nvPr>
            <p:ph type="sldNum" sz="quarter" idx="12"/>
          </p:nvPr>
        </p:nvSpPr>
        <p:spPr/>
        <p:txBody>
          <a:bodyPr/>
          <a:lstStyle/>
          <a:p>
            <a:fld id="{627A6445-FEA1-42B8-B0C3-C3D065FA2AC5}" type="slidenum">
              <a:rPr lang="en-US" smtClean="0"/>
              <a:t>‹#›</a:t>
            </a:fld>
            <a:endParaRPr lang="en-US"/>
          </a:p>
        </p:txBody>
      </p:sp>
    </p:spTree>
    <p:extLst>
      <p:ext uri="{BB962C8B-B14F-4D97-AF65-F5344CB8AC3E}">
        <p14:creationId xmlns:p14="http://schemas.microsoft.com/office/powerpoint/2010/main" val="14806801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E91955B-BF96-4356-BB5E-B233E731E5C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4EA502-49C8-4012-86CE-87684EAF9EF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76DD3DE-4A3B-4F95-8F12-A915D736F40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a:t>Nov 2023</a:t>
            </a:r>
          </a:p>
        </p:txBody>
      </p:sp>
      <p:sp>
        <p:nvSpPr>
          <p:cNvPr id="5" name="Footer Placeholder 4">
            <a:extLst>
              <a:ext uri="{FF2B5EF4-FFF2-40B4-BE49-F238E27FC236}">
                <a16:creationId xmlns:a16="http://schemas.microsoft.com/office/drawing/2014/main" id="{CF946C7C-AA1B-44DF-9CC1-D1AEBBA5C77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Stellantis Internal | FOSS Office</a:t>
            </a:r>
          </a:p>
        </p:txBody>
      </p:sp>
      <p:sp>
        <p:nvSpPr>
          <p:cNvPr id="6" name="Slide Number Placeholder 5">
            <a:extLst>
              <a:ext uri="{FF2B5EF4-FFF2-40B4-BE49-F238E27FC236}">
                <a16:creationId xmlns:a16="http://schemas.microsoft.com/office/drawing/2014/main" id="{37CEEAA6-2DFE-4211-8654-14BD5290796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27A6445-FEA1-42B8-B0C3-C3D065FA2AC5}" type="slidenum">
              <a:rPr lang="en-US" smtClean="0"/>
              <a:t>‹#›</a:t>
            </a:fld>
            <a:endParaRPr lang="en-US"/>
          </a:p>
        </p:txBody>
      </p:sp>
    </p:spTree>
    <p:extLst>
      <p:ext uri="{BB962C8B-B14F-4D97-AF65-F5344CB8AC3E}">
        <p14:creationId xmlns:p14="http://schemas.microsoft.com/office/powerpoint/2010/main" val="271668474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893" r:id="rId12"/>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12.xml"/><Relationship Id="rId6" Type="http://schemas.openxmlformats.org/officeDocument/2006/relationships/image" Target="../media/image20.png"/><Relationship Id="rId5" Type="http://schemas.openxmlformats.org/officeDocument/2006/relationships/image" Target="../media/image19.JPG"/><Relationship Id="rId4" Type="http://schemas.openxmlformats.org/officeDocument/2006/relationships/image" Target="../media/image18.JPG"/></Relationships>
</file>

<file path=ppt/slides/_rels/slide13.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2.xml"/><Relationship Id="rId1" Type="http://schemas.openxmlformats.org/officeDocument/2006/relationships/slideLayout" Target="../slideLayouts/slideLayout12.xml"/><Relationship Id="rId5" Type="http://schemas.openxmlformats.org/officeDocument/2006/relationships/image" Target="../media/image23.png"/><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12.xml"/><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tiff"/><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svg"/><Relationship Id="rId7" Type="http://schemas.openxmlformats.org/officeDocument/2006/relationships/image" Target="../media/image12.svg"/><Relationship Id="rId2" Type="http://schemas.openxmlformats.org/officeDocument/2006/relationships/image" Target="../media/image7.png"/><Relationship Id="rId1" Type="http://schemas.openxmlformats.org/officeDocument/2006/relationships/slideLayout" Target="../slideLayouts/slideLayout12.xml"/><Relationship Id="rId6" Type="http://schemas.openxmlformats.org/officeDocument/2006/relationships/image" Target="../media/image11.png"/><Relationship Id="rId5" Type="http://schemas.openxmlformats.org/officeDocument/2006/relationships/image" Target="../media/image10.svg"/><Relationship Id="rId4" Type="http://schemas.openxmlformats.org/officeDocument/2006/relationships/image" Target="../media/image9.png"/><Relationship Id="rId9" Type="http://schemas.openxmlformats.org/officeDocument/2006/relationships/image" Target="../media/image1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009070-30FA-4FC2-AE18-05118246EB88}"/>
              </a:ext>
            </a:extLst>
          </p:cNvPr>
          <p:cNvSpPr>
            <a:spLocks noGrp="1"/>
          </p:cNvSpPr>
          <p:nvPr>
            <p:ph type="body" idx="1"/>
          </p:nvPr>
        </p:nvSpPr>
        <p:spPr>
          <a:xfrm>
            <a:off x="0" y="449849"/>
            <a:ext cx="9683400" cy="336000"/>
          </a:xfrm>
        </p:spPr>
        <p:txBody>
          <a:bodyPr/>
          <a:lstStyle/>
          <a:p>
            <a:r>
              <a:rPr lang="en-US" sz="1600" dirty="0"/>
              <a:t>About Me</a:t>
            </a:r>
          </a:p>
        </p:txBody>
      </p:sp>
      <p:sp>
        <p:nvSpPr>
          <p:cNvPr id="3" name="Date Placeholder 2">
            <a:extLst>
              <a:ext uri="{FF2B5EF4-FFF2-40B4-BE49-F238E27FC236}">
                <a16:creationId xmlns:a16="http://schemas.microsoft.com/office/drawing/2014/main" id="{1ED30532-1692-D16B-F70A-810EE5AC99D1}"/>
              </a:ext>
            </a:extLst>
          </p:cNvPr>
          <p:cNvSpPr>
            <a:spLocks noGrp="1"/>
          </p:cNvSpPr>
          <p:nvPr>
            <p:ph type="dt" idx="10"/>
          </p:nvPr>
        </p:nvSpPr>
        <p:spPr/>
        <p:txBody>
          <a:bodyPr/>
          <a:lstStyle/>
          <a:p>
            <a:r>
              <a:rPr lang="en-US" sz="1100" dirty="0"/>
              <a:t>Sep 2024</a:t>
            </a:r>
          </a:p>
        </p:txBody>
      </p:sp>
      <p:sp>
        <p:nvSpPr>
          <p:cNvPr id="4" name="Footer Placeholder 3">
            <a:extLst>
              <a:ext uri="{FF2B5EF4-FFF2-40B4-BE49-F238E27FC236}">
                <a16:creationId xmlns:a16="http://schemas.microsoft.com/office/drawing/2014/main" id="{B7D6D767-1A14-98AD-5412-AAF4D04B04D5}"/>
              </a:ext>
            </a:extLst>
          </p:cNvPr>
          <p:cNvSpPr>
            <a:spLocks noGrp="1"/>
          </p:cNvSpPr>
          <p:nvPr>
            <p:ph type="ftr" idx="11"/>
          </p:nvPr>
        </p:nvSpPr>
        <p:spPr>
          <a:xfrm>
            <a:off x="3696000" y="6489699"/>
            <a:ext cx="4800000" cy="216000"/>
          </a:xfrm>
        </p:spPr>
        <p:txBody>
          <a:bodyPr/>
          <a:lstStyle/>
          <a:p>
            <a:pPr algn="ctr"/>
            <a:r>
              <a:rPr lang="en-US" sz="1100" dirty="0"/>
              <a:t>OSPO</a:t>
            </a:r>
          </a:p>
        </p:txBody>
      </p:sp>
      <p:sp>
        <p:nvSpPr>
          <p:cNvPr id="5" name="Slide Number Placeholder 4">
            <a:extLst>
              <a:ext uri="{FF2B5EF4-FFF2-40B4-BE49-F238E27FC236}">
                <a16:creationId xmlns:a16="http://schemas.microsoft.com/office/drawing/2014/main" id="{0A7DD865-F479-E66A-9005-CD59942ABEB3}"/>
              </a:ext>
            </a:extLst>
          </p:cNvPr>
          <p:cNvSpPr>
            <a:spLocks noGrp="1"/>
          </p:cNvSpPr>
          <p:nvPr>
            <p:ph type="sldNum" idx="12"/>
          </p:nvPr>
        </p:nvSpPr>
        <p:spPr/>
        <p:txBody>
          <a:bodyPr/>
          <a:lstStyle/>
          <a:p>
            <a:fld id="{00000000-1234-1234-1234-123412341234}" type="slidenum">
              <a:rPr lang="en-US" sz="1100" smtClean="0"/>
              <a:pPr/>
              <a:t>1</a:t>
            </a:fld>
            <a:endParaRPr lang="en-US" sz="1100"/>
          </a:p>
        </p:txBody>
      </p:sp>
      <p:sp>
        <p:nvSpPr>
          <p:cNvPr id="7" name="TextBox 6">
            <a:extLst>
              <a:ext uri="{FF2B5EF4-FFF2-40B4-BE49-F238E27FC236}">
                <a16:creationId xmlns:a16="http://schemas.microsoft.com/office/drawing/2014/main" id="{4EAE27E4-446B-E93B-F83D-7B982C3486F6}"/>
              </a:ext>
            </a:extLst>
          </p:cNvPr>
          <p:cNvSpPr txBox="1"/>
          <p:nvPr/>
        </p:nvSpPr>
        <p:spPr>
          <a:xfrm>
            <a:off x="746774" y="1679253"/>
            <a:ext cx="8189852" cy="3416320"/>
          </a:xfrm>
          <a:prstGeom prst="rect">
            <a:avLst/>
          </a:prstGeom>
          <a:noFill/>
        </p:spPr>
        <p:txBody>
          <a:bodyPr wrap="square">
            <a:spAutoFit/>
          </a:bodyPr>
          <a:lstStyle/>
          <a:p>
            <a:pPr marL="342900" indent="-342900">
              <a:buFont typeface="Wingdings" panose="05000000000000000000" pitchFamily="2" charset="2"/>
              <a:buChar char="Ø"/>
            </a:pPr>
            <a:r>
              <a:rPr lang="en-US" sz="2400" i="0" dirty="0">
                <a:solidFill>
                  <a:srgbClr val="242424"/>
                </a:solidFill>
                <a:effectLst/>
              </a:rPr>
              <a:t>I am Badal Kumar Jena, </a:t>
            </a:r>
            <a:r>
              <a:rPr lang="en-US" sz="2400" dirty="0">
                <a:solidFill>
                  <a:srgbClr val="242424"/>
                </a:solidFill>
              </a:rPr>
              <a:t>based out at Bangalore, India</a:t>
            </a:r>
            <a:r>
              <a:rPr lang="en-US" sz="2400" i="0" dirty="0">
                <a:solidFill>
                  <a:srgbClr val="242424"/>
                </a:solidFill>
                <a:effectLst/>
              </a:rPr>
              <a:t>.</a:t>
            </a:r>
          </a:p>
          <a:p>
            <a:pPr marL="342900" indent="-342900">
              <a:buFont typeface="Wingdings" panose="05000000000000000000" pitchFamily="2" charset="2"/>
              <a:buChar char="Ø"/>
            </a:pPr>
            <a:r>
              <a:rPr lang="en-US" sz="2400" dirty="0">
                <a:solidFill>
                  <a:srgbClr val="242424"/>
                </a:solidFill>
              </a:rPr>
              <a:t>B-Tech in Computer Science Engineering.</a:t>
            </a:r>
          </a:p>
          <a:p>
            <a:pPr marL="342900" indent="-342900">
              <a:buFont typeface="Wingdings" panose="05000000000000000000" pitchFamily="2" charset="2"/>
              <a:buChar char="Ø"/>
            </a:pPr>
            <a:r>
              <a:rPr lang="en-US" sz="2400" dirty="0">
                <a:solidFill>
                  <a:srgbClr val="242424"/>
                </a:solidFill>
              </a:rPr>
              <a:t>11</a:t>
            </a:r>
            <a:r>
              <a:rPr lang="en-US" sz="2400" i="0" dirty="0">
                <a:solidFill>
                  <a:srgbClr val="242424"/>
                </a:solidFill>
                <a:effectLst/>
              </a:rPr>
              <a:t> years of experience in performing Secure SDLC activities like SAST, DAST, SCA, FOSS License Compliance, Vulnerability assessment, Risk Management and Software Design and Development</a:t>
            </a:r>
            <a:r>
              <a:rPr lang="en-US" sz="2400" i="0" dirty="0">
                <a:solidFill>
                  <a:srgbClr val="000000"/>
                </a:solidFill>
                <a:effectLst/>
              </a:rPr>
              <a:t>.</a:t>
            </a:r>
          </a:p>
          <a:p>
            <a:pPr marL="342900" indent="-342900">
              <a:buFont typeface="Wingdings" panose="05000000000000000000" pitchFamily="2" charset="2"/>
              <a:buChar char="Ø"/>
            </a:pPr>
            <a:r>
              <a:rPr lang="en-US" sz="2400" i="0" dirty="0">
                <a:solidFill>
                  <a:srgbClr val="000000"/>
                </a:solidFill>
                <a:effectLst/>
              </a:rPr>
              <a:t>I have joined XYZ on Jan 2014.</a:t>
            </a:r>
          </a:p>
          <a:p>
            <a:pPr marL="342900" indent="-342900">
              <a:buFont typeface="Wingdings" panose="05000000000000000000" pitchFamily="2" charset="2"/>
              <a:buChar char="Ø"/>
            </a:pPr>
            <a:r>
              <a:rPr lang="en-US" sz="2400" dirty="0">
                <a:solidFill>
                  <a:srgbClr val="000000"/>
                </a:solidFill>
              </a:rPr>
              <a:t>Certified Ethical Hacker.</a:t>
            </a:r>
            <a:endParaRPr lang="en-US" sz="2400" i="0" dirty="0">
              <a:solidFill>
                <a:srgbClr val="000000"/>
              </a:solidFill>
              <a:effectLst/>
            </a:endParaRPr>
          </a:p>
          <a:p>
            <a:pPr marL="342900" indent="-342900">
              <a:buFont typeface="Wingdings" panose="05000000000000000000" pitchFamily="2" charset="2"/>
              <a:buChar char="Ø"/>
            </a:pPr>
            <a:r>
              <a:rPr lang="en-US" sz="2400" i="0" dirty="0">
                <a:solidFill>
                  <a:srgbClr val="000000"/>
                </a:solidFill>
                <a:effectLst/>
              </a:rPr>
              <a:t>Wildlife photographer</a:t>
            </a:r>
          </a:p>
        </p:txBody>
      </p:sp>
      <p:pic>
        <p:nvPicPr>
          <p:cNvPr id="30" name="Picture 29">
            <a:extLst>
              <a:ext uri="{FF2B5EF4-FFF2-40B4-BE49-F238E27FC236}">
                <a16:creationId xmlns:a16="http://schemas.microsoft.com/office/drawing/2014/main" id="{A237644F-63E8-E523-571D-BCFC39D5F37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9031032" y="1773625"/>
            <a:ext cx="2668843" cy="3227577"/>
          </a:xfrm>
          <a:prstGeom prst="rect">
            <a:avLst/>
          </a:prstGeom>
        </p:spPr>
      </p:pic>
    </p:spTree>
    <p:extLst>
      <p:ext uri="{BB962C8B-B14F-4D97-AF65-F5344CB8AC3E}">
        <p14:creationId xmlns:p14="http://schemas.microsoft.com/office/powerpoint/2010/main" val="23834512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7A5FAB5-EBEF-296B-2C9F-93138C378710}"/>
              </a:ext>
            </a:extLst>
          </p:cNvPr>
          <p:cNvSpPr>
            <a:spLocks noGrp="1"/>
          </p:cNvSpPr>
          <p:nvPr>
            <p:ph type="body" idx="1"/>
          </p:nvPr>
        </p:nvSpPr>
        <p:spPr/>
        <p:txBody>
          <a:bodyPr/>
          <a:lstStyle/>
          <a:p>
            <a:r>
              <a:rPr lang="en-US" dirty="0"/>
              <a:t>FOSS Licenses</a:t>
            </a:r>
          </a:p>
        </p:txBody>
      </p:sp>
      <p:sp>
        <p:nvSpPr>
          <p:cNvPr id="7" name="TextBox 6">
            <a:extLst>
              <a:ext uri="{FF2B5EF4-FFF2-40B4-BE49-F238E27FC236}">
                <a16:creationId xmlns:a16="http://schemas.microsoft.com/office/drawing/2014/main" id="{C05933DA-44D1-EB70-10B8-E3E8E0137696}"/>
              </a:ext>
            </a:extLst>
          </p:cNvPr>
          <p:cNvSpPr txBox="1"/>
          <p:nvPr/>
        </p:nvSpPr>
        <p:spPr>
          <a:xfrm>
            <a:off x="266772" y="1143099"/>
            <a:ext cx="11648420" cy="1310852"/>
          </a:xfrm>
          <a:prstGeom prst="rect">
            <a:avLst/>
          </a:prstGeom>
          <a:noFill/>
        </p:spPr>
        <p:txBody>
          <a:bodyPr wrap="square">
            <a:spAutoFit/>
          </a:bodyPr>
          <a:lstStyle/>
          <a:p>
            <a:r>
              <a:rPr lang="en-US" sz="2000" b="0" strike="noStrike" spc="-1" dirty="0">
                <a:solidFill>
                  <a:srgbClr val="292934"/>
                </a:solidFill>
                <a:latin typeface="Roboto"/>
                <a:ea typeface="Roboto"/>
              </a:rPr>
              <a:t>Based on the conditions related to providing attributions, copyright statement preservation, usage, or a written offer to make the source code available under terms that allow for modification and redistribution, </a:t>
            </a:r>
            <a:r>
              <a:rPr lang="en-US" sz="2000" dirty="0"/>
              <a:t>FOSS Licenses are categorized into 3 types.</a:t>
            </a:r>
          </a:p>
          <a:p>
            <a:endParaRPr lang="en-US" dirty="0"/>
          </a:p>
        </p:txBody>
      </p:sp>
      <p:sp>
        <p:nvSpPr>
          <p:cNvPr id="4" name="Date Placeholder 3">
            <a:extLst>
              <a:ext uri="{FF2B5EF4-FFF2-40B4-BE49-F238E27FC236}">
                <a16:creationId xmlns:a16="http://schemas.microsoft.com/office/drawing/2014/main" id="{E072BC59-1216-F6B6-F66A-9552539B23E2}"/>
              </a:ext>
            </a:extLst>
          </p:cNvPr>
          <p:cNvSpPr>
            <a:spLocks noGrp="1"/>
          </p:cNvSpPr>
          <p:nvPr>
            <p:ph type="dt" idx="10"/>
          </p:nvPr>
        </p:nvSpPr>
        <p:spPr/>
        <p:txBody>
          <a:bodyPr/>
          <a:lstStyle/>
          <a:p>
            <a:r>
              <a:rPr lang="en-US" dirty="0"/>
              <a:t>Sep 2024</a:t>
            </a:r>
          </a:p>
        </p:txBody>
      </p:sp>
      <p:sp>
        <p:nvSpPr>
          <p:cNvPr id="5" name="Footer Placeholder 4">
            <a:extLst>
              <a:ext uri="{FF2B5EF4-FFF2-40B4-BE49-F238E27FC236}">
                <a16:creationId xmlns:a16="http://schemas.microsoft.com/office/drawing/2014/main" id="{7D70F05E-2218-4821-AB83-AE13F056908B}"/>
              </a:ext>
            </a:extLst>
          </p:cNvPr>
          <p:cNvSpPr>
            <a:spLocks noGrp="1"/>
          </p:cNvSpPr>
          <p:nvPr>
            <p:ph type="ftr" idx="11"/>
          </p:nvPr>
        </p:nvSpPr>
        <p:spPr>
          <a:xfrm>
            <a:off x="3695999" y="6489701"/>
            <a:ext cx="4800000" cy="216000"/>
          </a:xfrm>
        </p:spPr>
        <p:txBody>
          <a:bodyPr/>
          <a:lstStyle/>
          <a:p>
            <a:pPr algn="ctr"/>
            <a:r>
              <a:rPr lang="en-US" dirty="0"/>
              <a:t>OSPO</a:t>
            </a:r>
          </a:p>
        </p:txBody>
      </p:sp>
      <p:sp>
        <p:nvSpPr>
          <p:cNvPr id="6" name="Slide Number Placeholder 5">
            <a:extLst>
              <a:ext uri="{FF2B5EF4-FFF2-40B4-BE49-F238E27FC236}">
                <a16:creationId xmlns:a16="http://schemas.microsoft.com/office/drawing/2014/main" id="{CEA23E21-5FB2-FFA4-6A78-6D195B095B52}"/>
              </a:ext>
            </a:extLst>
          </p:cNvPr>
          <p:cNvSpPr>
            <a:spLocks noGrp="1"/>
          </p:cNvSpPr>
          <p:nvPr>
            <p:ph type="sldNum" idx="12"/>
          </p:nvPr>
        </p:nvSpPr>
        <p:spPr/>
        <p:txBody>
          <a:bodyPr/>
          <a:lstStyle/>
          <a:p>
            <a:fld id="{00000000-1234-1234-1234-123412341234}" type="slidenum">
              <a:rPr lang="en-US" smtClean="0"/>
              <a:pPr/>
              <a:t>10</a:t>
            </a:fld>
            <a:endParaRPr lang="en-US"/>
          </a:p>
        </p:txBody>
      </p:sp>
      <p:graphicFrame>
        <p:nvGraphicFramePr>
          <p:cNvPr id="9" name="Diagram 8">
            <a:extLst>
              <a:ext uri="{FF2B5EF4-FFF2-40B4-BE49-F238E27FC236}">
                <a16:creationId xmlns:a16="http://schemas.microsoft.com/office/drawing/2014/main" id="{704EC7B1-FC67-6B88-9302-8CE3ED4CC476}"/>
              </a:ext>
            </a:extLst>
          </p:cNvPr>
          <p:cNvGraphicFramePr/>
          <p:nvPr>
            <p:extLst>
              <p:ext uri="{D42A27DB-BD31-4B8C-83A1-F6EECF244321}">
                <p14:modId xmlns:p14="http://schemas.microsoft.com/office/powerpoint/2010/main" val="1826105054"/>
              </p:ext>
            </p:extLst>
          </p:nvPr>
        </p:nvGraphicFramePr>
        <p:xfrm>
          <a:off x="2445205" y="1902057"/>
          <a:ext cx="7054500" cy="41598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482945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7A5FAB5-EBEF-296B-2C9F-93138C378710}"/>
              </a:ext>
            </a:extLst>
          </p:cNvPr>
          <p:cNvSpPr>
            <a:spLocks noGrp="1"/>
          </p:cNvSpPr>
          <p:nvPr>
            <p:ph type="body" idx="1"/>
          </p:nvPr>
        </p:nvSpPr>
        <p:spPr/>
        <p:txBody>
          <a:bodyPr/>
          <a:lstStyle/>
          <a:p>
            <a:r>
              <a:rPr lang="en-US" dirty="0"/>
              <a:t>Continue…</a:t>
            </a:r>
          </a:p>
        </p:txBody>
      </p:sp>
      <p:sp>
        <p:nvSpPr>
          <p:cNvPr id="7" name="TextBox 6">
            <a:extLst>
              <a:ext uri="{FF2B5EF4-FFF2-40B4-BE49-F238E27FC236}">
                <a16:creationId xmlns:a16="http://schemas.microsoft.com/office/drawing/2014/main" id="{C05933DA-44D1-EB70-10B8-E3E8E0137696}"/>
              </a:ext>
            </a:extLst>
          </p:cNvPr>
          <p:cNvSpPr txBox="1"/>
          <p:nvPr/>
        </p:nvSpPr>
        <p:spPr>
          <a:xfrm>
            <a:off x="143471" y="1004421"/>
            <a:ext cx="5332043" cy="5109091"/>
          </a:xfrm>
          <a:prstGeom prst="rect">
            <a:avLst/>
          </a:prstGeom>
          <a:noFill/>
        </p:spPr>
        <p:txBody>
          <a:bodyPr wrap="square">
            <a:spAutoFit/>
          </a:bodyPr>
          <a:lstStyle/>
          <a:p>
            <a:r>
              <a:rPr lang="en-US" sz="2000" dirty="0"/>
              <a:t>Some examples of </a:t>
            </a:r>
            <a:r>
              <a:rPr lang="en-US" sz="2000" dirty="0" err="1"/>
              <a:t>foss</a:t>
            </a:r>
            <a:r>
              <a:rPr lang="en-US" sz="2000" dirty="0"/>
              <a:t> licenses are as follows.</a:t>
            </a:r>
          </a:p>
          <a:p>
            <a:endParaRPr lang="en-US" dirty="0"/>
          </a:p>
          <a:p>
            <a:pPr marL="342900" indent="-342900">
              <a:buFont typeface="+mj-lt"/>
              <a:buAutoNum type="arabicPeriod"/>
            </a:pPr>
            <a:r>
              <a:rPr lang="en-US" dirty="0">
                <a:solidFill>
                  <a:schemeClr val="accent6">
                    <a:lumMod val="75000"/>
                  </a:schemeClr>
                </a:solidFill>
              </a:rPr>
              <a:t>MIT License</a:t>
            </a:r>
          </a:p>
          <a:p>
            <a:pPr marL="342900" indent="-342900">
              <a:buFont typeface="+mj-lt"/>
              <a:buAutoNum type="arabicPeriod"/>
            </a:pPr>
            <a:r>
              <a:rPr lang="en-US" dirty="0">
                <a:solidFill>
                  <a:schemeClr val="accent6">
                    <a:lumMod val="75000"/>
                  </a:schemeClr>
                </a:solidFill>
              </a:rPr>
              <a:t>Apache License 2.0</a:t>
            </a:r>
          </a:p>
          <a:p>
            <a:pPr marL="342900" indent="-342900">
              <a:buFont typeface="+mj-lt"/>
              <a:buAutoNum type="arabicPeriod"/>
            </a:pPr>
            <a:r>
              <a:rPr lang="en-US" dirty="0">
                <a:solidFill>
                  <a:schemeClr val="accent6">
                    <a:lumMod val="75000"/>
                  </a:schemeClr>
                </a:solidFill>
              </a:rPr>
              <a:t>ISC License</a:t>
            </a:r>
          </a:p>
          <a:p>
            <a:pPr marL="342900" indent="-342900">
              <a:buFont typeface="+mj-lt"/>
              <a:buAutoNum type="arabicPeriod"/>
            </a:pPr>
            <a:r>
              <a:rPr lang="en-US" dirty="0">
                <a:solidFill>
                  <a:schemeClr val="accent6">
                    <a:lumMod val="75000"/>
                  </a:schemeClr>
                </a:solidFill>
              </a:rPr>
              <a:t>BSD 3-Clause “New” or “Revised” License</a:t>
            </a:r>
          </a:p>
          <a:p>
            <a:pPr marL="342900" indent="-342900">
              <a:buFont typeface="+mj-lt"/>
              <a:buAutoNum type="arabicPeriod"/>
            </a:pPr>
            <a:r>
              <a:rPr lang="en-US" dirty="0">
                <a:solidFill>
                  <a:schemeClr val="accent6">
                    <a:lumMod val="75000"/>
                  </a:schemeClr>
                </a:solidFill>
              </a:rPr>
              <a:t>BSD 2-Clause “Simplified” License</a:t>
            </a:r>
          </a:p>
          <a:p>
            <a:pPr marL="342900" indent="-342900">
              <a:buFont typeface="+mj-lt"/>
              <a:buAutoNum type="arabicPeriod"/>
            </a:pPr>
            <a:r>
              <a:rPr lang="en-US" dirty="0" err="1">
                <a:solidFill>
                  <a:schemeClr val="accent6">
                    <a:lumMod val="75000"/>
                  </a:schemeClr>
                </a:solidFill>
              </a:rPr>
              <a:t>Zlib</a:t>
            </a:r>
            <a:r>
              <a:rPr lang="en-US" dirty="0">
                <a:solidFill>
                  <a:schemeClr val="accent6">
                    <a:lumMod val="75000"/>
                  </a:schemeClr>
                </a:solidFill>
              </a:rPr>
              <a:t>/</a:t>
            </a:r>
            <a:r>
              <a:rPr lang="en-US" dirty="0" err="1">
                <a:solidFill>
                  <a:schemeClr val="accent6">
                    <a:lumMod val="75000"/>
                  </a:schemeClr>
                </a:solidFill>
              </a:rPr>
              <a:t>libpng</a:t>
            </a:r>
            <a:r>
              <a:rPr lang="en-US" dirty="0">
                <a:solidFill>
                  <a:schemeClr val="accent6">
                    <a:lumMod val="75000"/>
                  </a:schemeClr>
                </a:solidFill>
              </a:rPr>
              <a:t> License</a:t>
            </a:r>
          </a:p>
          <a:p>
            <a:pPr marL="342900" indent="-342900">
              <a:buFont typeface="+mj-lt"/>
              <a:buAutoNum type="arabicPeriod"/>
            </a:pPr>
            <a:r>
              <a:rPr lang="en-US" dirty="0">
                <a:solidFill>
                  <a:schemeClr val="accent6">
                    <a:lumMod val="75000"/>
                  </a:schemeClr>
                </a:solidFill>
              </a:rPr>
              <a:t>Eclipse Distribution License – v 1.0</a:t>
            </a:r>
          </a:p>
          <a:p>
            <a:pPr marL="342900" indent="-342900">
              <a:buFont typeface="+mj-lt"/>
              <a:buAutoNum type="arabicPeriod"/>
            </a:pPr>
            <a:r>
              <a:rPr lang="en-US" dirty="0">
                <a:solidFill>
                  <a:srgbClr val="FFC000"/>
                </a:solidFill>
              </a:rPr>
              <a:t>Common Development and Distribution License</a:t>
            </a:r>
          </a:p>
          <a:p>
            <a:pPr marL="342900" indent="-342900">
              <a:buFont typeface="+mj-lt"/>
              <a:buAutoNum type="arabicPeriod"/>
            </a:pPr>
            <a:r>
              <a:rPr lang="en-US" dirty="0">
                <a:solidFill>
                  <a:srgbClr val="FFC000"/>
                </a:solidFill>
              </a:rPr>
              <a:t>Eclipse Public License 1.0</a:t>
            </a:r>
          </a:p>
          <a:p>
            <a:pPr marL="342900" indent="-342900">
              <a:buFont typeface="+mj-lt"/>
              <a:buAutoNum type="arabicPeriod"/>
            </a:pPr>
            <a:r>
              <a:rPr lang="en-US" dirty="0">
                <a:solidFill>
                  <a:srgbClr val="FFC000"/>
                </a:solidFill>
              </a:rPr>
              <a:t>Mozilla Public License 2.0</a:t>
            </a:r>
          </a:p>
          <a:p>
            <a:pPr marL="342900" indent="-342900">
              <a:buFont typeface="+mj-lt"/>
              <a:buAutoNum type="arabicPeriod"/>
            </a:pPr>
            <a:r>
              <a:rPr lang="en-US" dirty="0">
                <a:solidFill>
                  <a:srgbClr val="FFC000"/>
                </a:solidFill>
              </a:rPr>
              <a:t>Eclipse Public License 2.0</a:t>
            </a:r>
          </a:p>
          <a:p>
            <a:pPr marL="342900" indent="-342900">
              <a:buFont typeface="+mj-lt"/>
              <a:buAutoNum type="arabicPeriod"/>
            </a:pPr>
            <a:r>
              <a:rPr lang="en-US" dirty="0">
                <a:solidFill>
                  <a:srgbClr val="FF0000"/>
                </a:solidFill>
              </a:rPr>
              <a:t>GNU General Public License v2.0 or later</a:t>
            </a:r>
          </a:p>
          <a:p>
            <a:pPr marL="342900" indent="-342900">
              <a:buFont typeface="+mj-lt"/>
              <a:buAutoNum type="arabicPeriod"/>
            </a:pPr>
            <a:r>
              <a:rPr lang="en-US" dirty="0">
                <a:solidFill>
                  <a:srgbClr val="FF0000"/>
                </a:solidFill>
              </a:rPr>
              <a:t>GNU Lesser General Public License v2.1 or later</a:t>
            </a:r>
          </a:p>
          <a:p>
            <a:pPr marL="342900" indent="-342900">
              <a:buFont typeface="+mj-lt"/>
              <a:buAutoNum type="arabicPeriod"/>
            </a:pPr>
            <a:r>
              <a:rPr lang="en-US" dirty="0">
                <a:solidFill>
                  <a:srgbClr val="FF0000"/>
                </a:solidFill>
              </a:rPr>
              <a:t>GNU General Public License v3.0 or later</a:t>
            </a:r>
          </a:p>
          <a:p>
            <a:pPr marL="342900" indent="-342900">
              <a:buFont typeface="+mj-lt"/>
              <a:buAutoNum type="arabicPeriod"/>
            </a:pPr>
            <a:r>
              <a:rPr lang="en-US" dirty="0">
                <a:solidFill>
                  <a:srgbClr val="FF0000"/>
                </a:solidFill>
              </a:rPr>
              <a:t>GNU Lesser General Public License v3.0 or later</a:t>
            </a:r>
          </a:p>
          <a:p>
            <a:pPr marL="342900" indent="-342900">
              <a:buFont typeface="+mj-lt"/>
              <a:buAutoNum type="arabicPeriod"/>
            </a:pPr>
            <a:r>
              <a:rPr lang="en-US" dirty="0" err="1">
                <a:solidFill>
                  <a:srgbClr val="FF0000"/>
                </a:solidFill>
              </a:rPr>
              <a:t>Affero</a:t>
            </a:r>
            <a:r>
              <a:rPr lang="en-US" dirty="0">
                <a:solidFill>
                  <a:srgbClr val="FF0000"/>
                </a:solidFill>
              </a:rPr>
              <a:t> General Public License v3.0 or later</a:t>
            </a:r>
          </a:p>
        </p:txBody>
      </p:sp>
      <p:sp>
        <p:nvSpPr>
          <p:cNvPr id="4" name="Date Placeholder 3">
            <a:extLst>
              <a:ext uri="{FF2B5EF4-FFF2-40B4-BE49-F238E27FC236}">
                <a16:creationId xmlns:a16="http://schemas.microsoft.com/office/drawing/2014/main" id="{E072BC59-1216-F6B6-F66A-9552539B23E2}"/>
              </a:ext>
            </a:extLst>
          </p:cNvPr>
          <p:cNvSpPr>
            <a:spLocks noGrp="1"/>
          </p:cNvSpPr>
          <p:nvPr>
            <p:ph type="dt" idx="10"/>
          </p:nvPr>
        </p:nvSpPr>
        <p:spPr/>
        <p:txBody>
          <a:bodyPr/>
          <a:lstStyle/>
          <a:p>
            <a:r>
              <a:rPr lang="en-US" dirty="0"/>
              <a:t>Sep 2024</a:t>
            </a:r>
          </a:p>
        </p:txBody>
      </p:sp>
      <p:sp>
        <p:nvSpPr>
          <p:cNvPr id="5" name="Footer Placeholder 4">
            <a:extLst>
              <a:ext uri="{FF2B5EF4-FFF2-40B4-BE49-F238E27FC236}">
                <a16:creationId xmlns:a16="http://schemas.microsoft.com/office/drawing/2014/main" id="{7D70F05E-2218-4821-AB83-AE13F056908B}"/>
              </a:ext>
            </a:extLst>
          </p:cNvPr>
          <p:cNvSpPr>
            <a:spLocks noGrp="1"/>
          </p:cNvSpPr>
          <p:nvPr>
            <p:ph type="ftr" idx="11"/>
          </p:nvPr>
        </p:nvSpPr>
        <p:spPr>
          <a:xfrm>
            <a:off x="3696000" y="6489701"/>
            <a:ext cx="4800000" cy="216000"/>
          </a:xfrm>
        </p:spPr>
        <p:txBody>
          <a:bodyPr/>
          <a:lstStyle/>
          <a:p>
            <a:pPr algn="ctr"/>
            <a:r>
              <a:rPr lang="en-US" dirty="0"/>
              <a:t>OSPO</a:t>
            </a:r>
          </a:p>
        </p:txBody>
      </p:sp>
      <p:sp>
        <p:nvSpPr>
          <p:cNvPr id="6" name="Slide Number Placeholder 5">
            <a:extLst>
              <a:ext uri="{FF2B5EF4-FFF2-40B4-BE49-F238E27FC236}">
                <a16:creationId xmlns:a16="http://schemas.microsoft.com/office/drawing/2014/main" id="{CEA23E21-5FB2-FFA4-6A78-6D195B095B52}"/>
              </a:ext>
            </a:extLst>
          </p:cNvPr>
          <p:cNvSpPr>
            <a:spLocks noGrp="1"/>
          </p:cNvSpPr>
          <p:nvPr>
            <p:ph type="sldNum" idx="12"/>
          </p:nvPr>
        </p:nvSpPr>
        <p:spPr/>
        <p:txBody>
          <a:bodyPr/>
          <a:lstStyle/>
          <a:p>
            <a:fld id="{00000000-1234-1234-1234-123412341234}" type="slidenum">
              <a:rPr lang="en-US" smtClean="0"/>
              <a:pPr/>
              <a:t>11</a:t>
            </a:fld>
            <a:endParaRPr lang="en-US"/>
          </a:p>
        </p:txBody>
      </p:sp>
      <p:pic>
        <p:nvPicPr>
          <p:cNvPr id="11" name="Picture 10" descr="A picture containing text, font&#10;&#10;Description automatically generated">
            <a:extLst>
              <a:ext uri="{FF2B5EF4-FFF2-40B4-BE49-F238E27FC236}">
                <a16:creationId xmlns:a16="http://schemas.microsoft.com/office/drawing/2014/main" id="{EE29D8AE-3BEF-2C01-4FF8-9BC31262645E}"/>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034426" y="1004421"/>
            <a:ext cx="7157574" cy="4982722"/>
          </a:xfrm>
          <a:prstGeom prst="rect">
            <a:avLst/>
          </a:prstGeom>
        </p:spPr>
      </p:pic>
    </p:spTree>
    <p:extLst>
      <p:ext uri="{BB962C8B-B14F-4D97-AF65-F5344CB8AC3E}">
        <p14:creationId xmlns:p14="http://schemas.microsoft.com/office/powerpoint/2010/main" val="19125118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7A5FAB5-EBEF-296B-2C9F-93138C378710}"/>
              </a:ext>
            </a:extLst>
          </p:cNvPr>
          <p:cNvSpPr>
            <a:spLocks noGrp="1"/>
          </p:cNvSpPr>
          <p:nvPr>
            <p:ph type="body" idx="1"/>
          </p:nvPr>
        </p:nvSpPr>
        <p:spPr/>
        <p:txBody>
          <a:bodyPr/>
          <a:lstStyle/>
          <a:p>
            <a:r>
              <a:rPr lang="en-US" dirty="0"/>
              <a:t>Copyright &amp; Other Notice</a:t>
            </a:r>
          </a:p>
        </p:txBody>
      </p:sp>
      <p:sp>
        <p:nvSpPr>
          <p:cNvPr id="7" name="TextBox 6">
            <a:extLst>
              <a:ext uri="{FF2B5EF4-FFF2-40B4-BE49-F238E27FC236}">
                <a16:creationId xmlns:a16="http://schemas.microsoft.com/office/drawing/2014/main" id="{C05933DA-44D1-EB70-10B8-E3E8E0137696}"/>
              </a:ext>
            </a:extLst>
          </p:cNvPr>
          <p:cNvSpPr txBox="1"/>
          <p:nvPr/>
        </p:nvSpPr>
        <p:spPr>
          <a:xfrm>
            <a:off x="316840" y="1006542"/>
            <a:ext cx="9333907" cy="1477328"/>
          </a:xfrm>
          <a:prstGeom prst="rect">
            <a:avLst/>
          </a:prstGeom>
          <a:noFill/>
        </p:spPr>
        <p:txBody>
          <a:bodyPr wrap="square">
            <a:spAutoFit/>
          </a:bodyPr>
          <a:lstStyle/>
          <a:p>
            <a:r>
              <a:rPr lang="en-US" dirty="0"/>
              <a:t>Copyright is a legal form of protection given to the authors or creator of the original work of authorship including literary, dramatic, musical, artistic, and other intellectual works.</a:t>
            </a:r>
          </a:p>
          <a:p>
            <a:endParaRPr lang="en-US" dirty="0"/>
          </a:p>
          <a:p>
            <a:r>
              <a:rPr lang="en-US" dirty="0"/>
              <a:t>Additional information about the author, license and copyright information is captured in the notice file.</a:t>
            </a:r>
          </a:p>
        </p:txBody>
      </p:sp>
      <p:sp>
        <p:nvSpPr>
          <p:cNvPr id="4" name="Date Placeholder 3">
            <a:extLst>
              <a:ext uri="{FF2B5EF4-FFF2-40B4-BE49-F238E27FC236}">
                <a16:creationId xmlns:a16="http://schemas.microsoft.com/office/drawing/2014/main" id="{15E37B00-389D-C4A0-1A0D-7144AD9B9215}"/>
              </a:ext>
            </a:extLst>
          </p:cNvPr>
          <p:cNvSpPr>
            <a:spLocks noGrp="1"/>
          </p:cNvSpPr>
          <p:nvPr>
            <p:ph type="dt" idx="10"/>
          </p:nvPr>
        </p:nvSpPr>
        <p:spPr/>
        <p:txBody>
          <a:bodyPr/>
          <a:lstStyle/>
          <a:p>
            <a:r>
              <a:rPr lang="en-US" dirty="0"/>
              <a:t>Sep 2024</a:t>
            </a:r>
          </a:p>
        </p:txBody>
      </p:sp>
      <p:sp>
        <p:nvSpPr>
          <p:cNvPr id="5" name="Footer Placeholder 4">
            <a:extLst>
              <a:ext uri="{FF2B5EF4-FFF2-40B4-BE49-F238E27FC236}">
                <a16:creationId xmlns:a16="http://schemas.microsoft.com/office/drawing/2014/main" id="{C7996E00-230C-B1D7-6AB2-76E9F835942A}"/>
              </a:ext>
            </a:extLst>
          </p:cNvPr>
          <p:cNvSpPr>
            <a:spLocks noGrp="1"/>
          </p:cNvSpPr>
          <p:nvPr>
            <p:ph type="ftr" idx="11"/>
          </p:nvPr>
        </p:nvSpPr>
        <p:spPr>
          <a:xfrm>
            <a:off x="3696000" y="6489701"/>
            <a:ext cx="4800000" cy="216000"/>
          </a:xfrm>
        </p:spPr>
        <p:txBody>
          <a:bodyPr/>
          <a:lstStyle/>
          <a:p>
            <a:pPr algn="ctr"/>
            <a:r>
              <a:rPr lang="en-US" dirty="0"/>
              <a:t>OSPO</a:t>
            </a:r>
          </a:p>
        </p:txBody>
      </p:sp>
      <p:sp>
        <p:nvSpPr>
          <p:cNvPr id="6" name="Slide Number Placeholder 5">
            <a:extLst>
              <a:ext uri="{FF2B5EF4-FFF2-40B4-BE49-F238E27FC236}">
                <a16:creationId xmlns:a16="http://schemas.microsoft.com/office/drawing/2014/main" id="{A000616E-707C-57A7-D92B-33F358572E3C}"/>
              </a:ext>
            </a:extLst>
          </p:cNvPr>
          <p:cNvSpPr>
            <a:spLocks noGrp="1"/>
          </p:cNvSpPr>
          <p:nvPr>
            <p:ph type="sldNum" idx="12"/>
          </p:nvPr>
        </p:nvSpPr>
        <p:spPr/>
        <p:txBody>
          <a:bodyPr/>
          <a:lstStyle/>
          <a:p>
            <a:fld id="{00000000-1234-1234-1234-123412341234}" type="slidenum">
              <a:rPr lang="en-US" smtClean="0"/>
              <a:pPr/>
              <a:t>12</a:t>
            </a:fld>
            <a:endParaRPr lang="en-US"/>
          </a:p>
        </p:txBody>
      </p:sp>
      <p:pic>
        <p:nvPicPr>
          <p:cNvPr id="10" name="Graphic 9">
            <a:extLst>
              <a:ext uri="{FF2B5EF4-FFF2-40B4-BE49-F238E27FC236}">
                <a16:creationId xmlns:a16="http://schemas.microsoft.com/office/drawing/2014/main" id="{492DD332-6B67-6AED-74E1-2B14D247505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86740" y="963000"/>
            <a:ext cx="1876425" cy="1876425"/>
          </a:xfrm>
          <a:prstGeom prst="rect">
            <a:avLst/>
          </a:prstGeom>
        </p:spPr>
      </p:pic>
      <p:pic>
        <p:nvPicPr>
          <p:cNvPr id="12" name="Picture 11" descr="A screenshot of a computer program&#10;&#10;Description automatically generated with low confidence">
            <a:extLst>
              <a:ext uri="{FF2B5EF4-FFF2-40B4-BE49-F238E27FC236}">
                <a16:creationId xmlns:a16="http://schemas.microsoft.com/office/drawing/2014/main" id="{2000AEB0-F794-1DB4-9F82-2CF8C540F93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070" y="2472984"/>
            <a:ext cx="4957712" cy="3916565"/>
          </a:xfrm>
          <a:prstGeom prst="rect">
            <a:avLst/>
          </a:prstGeom>
          <a:ln>
            <a:solidFill>
              <a:schemeClr val="tx1"/>
            </a:solidFill>
          </a:ln>
        </p:spPr>
      </p:pic>
      <p:pic>
        <p:nvPicPr>
          <p:cNvPr id="14" name="Picture 13" descr="A screenshot of a computer program&#10;&#10;Description automatically generated with medium confidence">
            <a:extLst>
              <a:ext uri="{FF2B5EF4-FFF2-40B4-BE49-F238E27FC236}">
                <a16:creationId xmlns:a16="http://schemas.microsoft.com/office/drawing/2014/main" id="{071732D7-582A-DF16-0538-6EB6D105585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02717" y="2455988"/>
            <a:ext cx="4061768" cy="2007360"/>
          </a:xfrm>
          <a:prstGeom prst="rect">
            <a:avLst/>
          </a:prstGeom>
          <a:ln>
            <a:solidFill>
              <a:schemeClr val="tx1"/>
            </a:solidFill>
          </a:ln>
        </p:spPr>
      </p:pic>
      <p:pic>
        <p:nvPicPr>
          <p:cNvPr id="16" name="Picture 15" descr="A screen shot of a computer&#10;&#10;Description automatically generated with medium confidence">
            <a:extLst>
              <a:ext uri="{FF2B5EF4-FFF2-40B4-BE49-F238E27FC236}">
                <a16:creationId xmlns:a16="http://schemas.microsoft.com/office/drawing/2014/main" id="{7C1A3BFF-EF0C-043C-8342-6B2088F9DE8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02721" y="4462237"/>
            <a:ext cx="4061768" cy="1927313"/>
          </a:xfrm>
          <a:prstGeom prst="rect">
            <a:avLst/>
          </a:prstGeom>
          <a:ln>
            <a:solidFill>
              <a:schemeClr val="tx1"/>
            </a:solidFill>
          </a:ln>
        </p:spPr>
      </p:pic>
    </p:spTree>
    <p:extLst>
      <p:ext uri="{BB962C8B-B14F-4D97-AF65-F5344CB8AC3E}">
        <p14:creationId xmlns:p14="http://schemas.microsoft.com/office/powerpoint/2010/main" val="11529846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7A5FAB5-EBEF-296B-2C9F-93138C378710}"/>
              </a:ext>
            </a:extLst>
          </p:cNvPr>
          <p:cNvSpPr>
            <a:spLocks noGrp="1"/>
          </p:cNvSpPr>
          <p:nvPr>
            <p:ph type="body" idx="1"/>
          </p:nvPr>
        </p:nvSpPr>
        <p:spPr/>
        <p:txBody>
          <a:bodyPr/>
          <a:lstStyle/>
          <a:p>
            <a:r>
              <a:rPr lang="en-US" dirty="0"/>
              <a:t>Legal Lawsuit – Panasonic Aviation vs </a:t>
            </a:r>
            <a:r>
              <a:rPr lang="en-US" dirty="0" err="1"/>
              <a:t>CoKinetic</a:t>
            </a:r>
            <a:r>
              <a:rPr lang="en-US" dirty="0"/>
              <a:t> Systems</a:t>
            </a:r>
          </a:p>
        </p:txBody>
      </p:sp>
      <p:sp>
        <p:nvSpPr>
          <p:cNvPr id="7" name="TextBox 6">
            <a:extLst>
              <a:ext uri="{FF2B5EF4-FFF2-40B4-BE49-F238E27FC236}">
                <a16:creationId xmlns:a16="http://schemas.microsoft.com/office/drawing/2014/main" id="{C05933DA-44D1-EB70-10B8-E3E8E0137696}"/>
              </a:ext>
            </a:extLst>
          </p:cNvPr>
          <p:cNvSpPr txBox="1"/>
          <p:nvPr/>
        </p:nvSpPr>
        <p:spPr>
          <a:xfrm>
            <a:off x="257555" y="1233532"/>
            <a:ext cx="8238445" cy="1749154"/>
          </a:xfrm>
          <a:prstGeom prst="rect">
            <a:avLst/>
          </a:prstGeom>
          <a:noFill/>
        </p:spPr>
        <p:txBody>
          <a:bodyPr wrap="square">
            <a:spAutoFit/>
          </a:bodyPr>
          <a:lstStyle/>
          <a:p>
            <a:r>
              <a:rPr lang="en-US" dirty="0" err="1"/>
              <a:t>CoKinetic</a:t>
            </a:r>
            <a:r>
              <a:rPr lang="en-US" dirty="0"/>
              <a:t> Systems, a developer and manufacturer of in-flight entertainment (IFE) software, has filed a case against Panasonic Avionics that includes allegations of a fairly egregious breach of the GPL. The complaint alleges that Panasonic Avionics has monopolized the Panasonic IFE Software and Media Services Market by deliberately refusing to distribute the source code for its open-source Linux-based operating system.</a:t>
            </a:r>
          </a:p>
        </p:txBody>
      </p:sp>
      <p:sp>
        <p:nvSpPr>
          <p:cNvPr id="4" name="Date Placeholder 3">
            <a:extLst>
              <a:ext uri="{FF2B5EF4-FFF2-40B4-BE49-F238E27FC236}">
                <a16:creationId xmlns:a16="http://schemas.microsoft.com/office/drawing/2014/main" id="{D9D061E2-7723-6F9E-8180-EBADDB131F7B}"/>
              </a:ext>
            </a:extLst>
          </p:cNvPr>
          <p:cNvSpPr>
            <a:spLocks noGrp="1"/>
          </p:cNvSpPr>
          <p:nvPr>
            <p:ph type="dt" idx="10"/>
          </p:nvPr>
        </p:nvSpPr>
        <p:spPr/>
        <p:txBody>
          <a:bodyPr/>
          <a:lstStyle/>
          <a:p>
            <a:r>
              <a:rPr lang="en-US" dirty="0"/>
              <a:t>Sep 2024</a:t>
            </a:r>
          </a:p>
        </p:txBody>
      </p:sp>
      <p:sp>
        <p:nvSpPr>
          <p:cNvPr id="5" name="Footer Placeholder 4">
            <a:extLst>
              <a:ext uri="{FF2B5EF4-FFF2-40B4-BE49-F238E27FC236}">
                <a16:creationId xmlns:a16="http://schemas.microsoft.com/office/drawing/2014/main" id="{019357B3-A845-E96E-B85D-BB3469A801FC}"/>
              </a:ext>
            </a:extLst>
          </p:cNvPr>
          <p:cNvSpPr>
            <a:spLocks noGrp="1"/>
          </p:cNvSpPr>
          <p:nvPr>
            <p:ph type="ftr" idx="11"/>
          </p:nvPr>
        </p:nvSpPr>
        <p:spPr>
          <a:xfrm>
            <a:off x="3696000" y="6489701"/>
            <a:ext cx="4800000" cy="216000"/>
          </a:xfrm>
        </p:spPr>
        <p:txBody>
          <a:bodyPr/>
          <a:lstStyle/>
          <a:p>
            <a:pPr algn="ctr"/>
            <a:r>
              <a:rPr lang="en-US" dirty="0"/>
              <a:t>OSPO</a:t>
            </a:r>
          </a:p>
        </p:txBody>
      </p:sp>
      <p:sp>
        <p:nvSpPr>
          <p:cNvPr id="6" name="Slide Number Placeholder 5">
            <a:extLst>
              <a:ext uri="{FF2B5EF4-FFF2-40B4-BE49-F238E27FC236}">
                <a16:creationId xmlns:a16="http://schemas.microsoft.com/office/drawing/2014/main" id="{D93567A7-E44F-5EF7-6ED5-F0841C1D8559}"/>
              </a:ext>
            </a:extLst>
          </p:cNvPr>
          <p:cNvSpPr>
            <a:spLocks noGrp="1"/>
          </p:cNvSpPr>
          <p:nvPr>
            <p:ph type="sldNum" idx="12"/>
          </p:nvPr>
        </p:nvSpPr>
        <p:spPr/>
        <p:txBody>
          <a:bodyPr/>
          <a:lstStyle/>
          <a:p>
            <a:fld id="{00000000-1234-1234-1234-123412341234}" type="slidenum">
              <a:rPr lang="en-US" smtClean="0"/>
              <a:pPr/>
              <a:t>13</a:t>
            </a:fld>
            <a:endParaRPr lang="en-US"/>
          </a:p>
        </p:txBody>
      </p:sp>
      <p:pic>
        <p:nvPicPr>
          <p:cNvPr id="9" name="Picture 8" descr="A picture containing text, cartoon, illustration, design&#10;&#10;Description automatically generated">
            <a:extLst>
              <a:ext uri="{FF2B5EF4-FFF2-40B4-BE49-F238E27FC236}">
                <a16:creationId xmlns:a16="http://schemas.microsoft.com/office/drawing/2014/main" id="{20279369-7192-C5A3-7EC9-23BC7E5630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07226" y="1233532"/>
            <a:ext cx="3327219" cy="3017821"/>
          </a:xfrm>
          <a:prstGeom prst="rect">
            <a:avLst/>
          </a:prstGeom>
        </p:spPr>
      </p:pic>
      <p:pic>
        <p:nvPicPr>
          <p:cNvPr id="11" name="Picture 10" descr="A picture containing text, screenshot, font, diagram&#10;&#10;Description automatically generated">
            <a:extLst>
              <a:ext uri="{FF2B5EF4-FFF2-40B4-BE49-F238E27FC236}">
                <a16:creationId xmlns:a16="http://schemas.microsoft.com/office/drawing/2014/main" id="{352AF780-3134-DE0B-CAF1-B8FFE86FAAF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2254" y="2982686"/>
            <a:ext cx="6829045" cy="3394974"/>
          </a:xfrm>
          <a:prstGeom prst="rect">
            <a:avLst/>
          </a:prstGeom>
        </p:spPr>
      </p:pic>
      <p:pic>
        <p:nvPicPr>
          <p:cNvPr id="13" name="Picture 12">
            <a:extLst>
              <a:ext uri="{FF2B5EF4-FFF2-40B4-BE49-F238E27FC236}">
                <a16:creationId xmlns:a16="http://schemas.microsoft.com/office/drawing/2014/main" id="{EB6B23A8-6EF7-283A-BFC1-387F4EC6216A}"/>
              </a:ext>
            </a:extLst>
          </p:cNvPr>
          <p:cNvPicPr>
            <a:picLocks noChangeAspect="1"/>
          </p:cNvPicPr>
          <p:nvPr/>
        </p:nvPicPr>
        <p:blipFill>
          <a:blip r:embed="rId5"/>
          <a:stretch>
            <a:fillRect/>
          </a:stretch>
        </p:blipFill>
        <p:spPr>
          <a:xfrm>
            <a:off x="7276420" y="5235883"/>
            <a:ext cx="4210820" cy="780152"/>
          </a:xfrm>
          <a:prstGeom prst="rect">
            <a:avLst/>
          </a:prstGeom>
          <a:ln>
            <a:solidFill>
              <a:srgbClr val="FF0000"/>
            </a:solidFill>
          </a:ln>
        </p:spPr>
      </p:pic>
    </p:spTree>
    <p:extLst>
      <p:ext uri="{BB962C8B-B14F-4D97-AF65-F5344CB8AC3E}">
        <p14:creationId xmlns:p14="http://schemas.microsoft.com/office/powerpoint/2010/main" val="5574376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7A5FAB5-EBEF-296B-2C9F-93138C378710}"/>
              </a:ext>
            </a:extLst>
          </p:cNvPr>
          <p:cNvSpPr>
            <a:spLocks noGrp="1"/>
          </p:cNvSpPr>
          <p:nvPr>
            <p:ph type="body" idx="1"/>
          </p:nvPr>
        </p:nvSpPr>
        <p:spPr/>
        <p:txBody>
          <a:bodyPr/>
          <a:lstStyle/>
          <a:p>
            <a:r>
              <a:rPr lang="en-US" dirty="0"/>
              <a:t>Legal Lawsuit – Microsoft GitHub Copilot</a:t>
            </a:r>
          </a:p>
        </p:txBody>
      </p:sp>
      <p:sp>
        <p:nvSpPr>
          <p:cNvPr id="7" name="TextBox 6">
            <a:extLst>
              <a:ext uri="{FF2B5EF4-FFF2-40B4-BE49-F238E27FC236}">
                <a16:creationId xmlns:a16="http://schemas.microsoft.com/office/drawing/2014/main" id="{C05933DA-44D1-EB70-10B8-E3E8E0137696}"/>
              </a:ext>
            </a:extLst>
          </p:cNvPr>
          <p:cNvSpPr txBox="1"/>
          <p:nvPr/>
        </p:nvSpPr>
        <p:spPr>
          <a:xfrm>
            <a:off x="257555" y="1233532"/>
            <a:ext cx="11303074" cy="1938992"/>
          </a:xfrm>
          <a:prstGeom prst="rect">
            <a:avLst/>
          </a:prstGeom>
          <a:noFill/>
        </p:spPr>
        <p:txBody>
          <a:bodyPr wrap="square">
            <a:spAutoFit/>
          </a:bodyPr>
          <a:lstStyle/>
          <a:p>
            <a:pPr marL="342900" indent="-342900">
              <a:buFont typeface="Wingdings" panose="05000000000000000000" pitchFamily="2" charset="2"/>
              <a:buChar char="§"/>
            </a:pPr>
            <a:r>
              <a:rPr lang="en-US" sz="2400" dirty="0"/>
              <a:t>Joseph </a:t>
            </a:r>
            <a:r>
              <a:rPr lang="en-US" sz="2400" dirty="0" err="1"/>
              <a:t>Saveri</a:t>
            </a:r>
            <a:r>
              <a:rPr lang="en-US" sz="2400" dirty="0"/>
              <a:t> Law Firm filed a law­suit chal­leng­ing GitHub Copi­lot, an AI prod­uct that relies on unprece­dented open-source soft­ware piracy.</a:t>
            </a:r>
          </a:p>
          <a:p>
            <a:pPr marL="342900" indent="-342900">
              <a:buFont typeface="Wingdings" panose="05000000000000000000" pitchFamily="2" charset="2"/>
              <a:buChar char="§"/>
            </a:pPr>
            <a:r>
              <a:rPr lang="en-US" sz="2400" dirty="0"/>
              <a:t>It violates OSS licensing attributes and limitation.</a:t>
            </a:r>
          </a:p>
          <a:p>
            <a:pPr marL="342900" indent="-342900">
              <a:buFont typeface="Wingdings" panose="05000000000000000000" pitchFamily="2" charset="2"/>
              <a:buChar char="§"/>
            </a:pPr>
            <a:r>
              <a:rPr lang="en-US" sz="2400" dirty="0"/>
              <a:t>Not only it violates GitHub ‘s terms &amp; conditions of service and privacy policies it also violates DMCA 1202, which forbids the removal of copyright management information.</a:t>
            </a:r>
          </a:p>
        </p:txBody>
      </p:sp>
      <p:sp>
        <p:nvSpPr>
          <p:cNvPr id="4" name="Date Placeholder 3">
            <a:extLst>
              <a:ext uri="{FF2B5EF4-FFF2-40B4-BE49-F238E27FC236}">
                <a16:creationId xmlns:a16="http://schemas.microsoft.com/office/drawing/2014/main" id="{D9D061E2-7723-6F9E-8180-EBADDB131F7B}"/>
              </a:ext>
            </a:extLst>
          </p:cNvPr>
          <p:cNvSpPr>
            <a:spLocks noGrp="1"/>
          </p:cNvSpPr>
          <p:nvPr>
            <p:ph type="dt" idx="10"/>
          </p:nvPr>
        </p:nvSpPr>
        <p:spPr/>
        <p:txBody>
          <a:bodyPr/>
          <a:lstStyle/>
          <a:p>
            <a:r>
              <a:rPr lang="en-US" dirty="0"/>
              <a:t>Sep 2024</a:t>
            </a:r>
          </a:p>
        </p:txBody>
      </p:sp>
      <p:sp>
        <p:nvSpPr>
          <p:cNvPr id="5" name="Footer Placeholder 4">
            <a:extLst>
              <a:ext uri="{FF2B5EF4-FFF2-40B4-BE49-F238E27FC236}">
                <a16:creationId xmlns:a16="http://schemas.microsoft.com/office/drawing/2014/main" id="{019357B3-A845-E96E-B85D-BB3469A801FC}"/>
              </a:ext>
            </a:extLst>
          </p:cNvPr>
          <p:cNvSpPr>
            <a:spLocks noGrp="1"/>
          </p:cNvSpPr>
          <p:nvPr>
            <p:ph type="ftr" idx="11"/>
          </p:nvPr>
        </p:nvSpPr>
        <p:spPr>
          <a:xfrm>
            <a:off x="3696000" y="6489701"/>
            <a:ext cx="4800000" cy="216000"/>
          </a:xfrm>
        </p:spPr>
        <p:txBody>
          <a:bodyPr/>
          <a:lstStyle/>
          <a:p>
            <a:pPr algn="ctr"/>
            <a:r>
              <a:rPr lang="en-US" dirty="0"/>
              <a:t>OSPO</a:t>
            </a:r>
          </a:p>
        </p:txBody>
      </p:sp>
      <p:sp>
        <p:nvSpPr>
          <p:cNvPr id="6" name="Slide Number Placeholder 5">
            <a:extLst>
              <a:ext uri="{FF2B5EF4-FFF2-40B4-BE49-F238E27FC236}">
                <a16:creationId xmlns:a16="http://schemas.microsoft.com/office/drawing/2014/main" id="{D93567A7-E44F-5EF7-6ED5-F0841C1D8559}"/>
              </a:ext>
            </a:extLst>
          </p:cNvPr>
          <p:cNvSpPr>
            <a:spLocks noGrp="1"/>
          </p:cNvSpPr>
          <p:nvPr>
            <p:ph type="sldNum" idx="12"/>
          </p:nvPr>
        </p:nvSpPr>
        <p:spPr/>
        <p:txBody>
          <a:bodyPr/>
          <a:lstStyle/>
          <a:p>
            <a:fld id="{00000000-1234-1234-1234-123412341234}" type="slidenum">
              <a:rPr lang="en-US" smtClean="0"/>
              <a:pPr/>
              <a:t>14</a:t>
            </a:fld>
            <a:endParaRPr lang="en-US"/>
          </a:p>
        </p:txBody>
      </p:sp>
      <p:pic>
        <p:nvPicPr>
          <p:cNvPr id="9" name="Picture 8" descr="A picture containing text, font, screenshot, software&#10;&#10;Description automatically generated">
            <a:extLst>
              <a:ext uri="{FF2B5EF4-FFF2-40B4-BE49-F238E27FC236}">
                <a16:creationId xmlns:a16="http://schemas.microsoft.com/office/drawing/2014/main" id="{8498293F-0707-5324-630A-254AA9253C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4894" y="3541856"/>
            <a:ext cx="6441078" cy="2638295"/>
          </a:xfrm>
          <a:prstGeom prst="rect">
            <a:avLst/>
          </a:prstGeom>
        </p:spPr>
      </p:pic>
      <p:pic>
        <p:nvPicPr>
          <p:cNvPr id="11" name="Picture 10">
            <a:extLst>
              <a:ext uri="{FF2B5EF4-FFF2-40B4-BE49-F238E27FC236}">
                <a16:creationId xmlns:a16="http://schemas.microsoft.com/office/drawing/2014/main" id="{1A9A0DF4-D129-8570-AF58-94DBE964EBEF}"/>
              </a:ext>
            </a:extLst>
          </p:cNvPr>
          <p:cNvPicPr>
            <a:picLocks noChangeAspect="1"/>
          </p:cNvPicPr>
          <p:nvPr/>
        </p:nvPicPr>
        <p:blipFill>
          <a:blip r:embed="rId4"/>
          <a:stretch>
            <a:fillRect/>
          </a:stretch>
        </p:blipFill>
        <p:spPr>
          <a:xfrm>
            <a:off x="7541949" y="4275198"/>
            <a:ext cx="3909254" cy="873745"/>
          </a:xfrm>
          <a:prstGeom prst="rect">
            <a:avLst/>
          </a:prstGeom>
          <a:ln>
            <a:solidFill>
              <a:srgbClr val="FF0000"/>
            </a:solidFill>
          </a:ln>
        </p:spPr>
      </p:pic>
    </p:spTree>
    <p:extLst>
      <p:ext uri="{BB962C8B-B14F-4D97-AF65-F5344CB8AC3E}">
        <p14:creationId xmlns:p14="http://schemas.microsoft.com/office/powerpoint/2010/main" val="22145451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7A5FAB5-EBEF-296B-2C9F-93138C378710}"/>
              </a:ext>
            </a:extLst>
          </p:cNvPr>
          <p:cNvSpPr>
            <a:spLocks noGrp="1"/>
          </p:cNvSpPr>
          <p:nvPr>
            <p:ph type="body" idx="1"/>
          </p:nvPr>
        </p:nvSpPr>
        <p:spPr/>
        <p:txBody>
          <a:bodyPr/>
          <a:lstStyle/>
          <a:p>
            <a:r>
              <a:rPr lang="en-US" dirty="0"/>
              <a:t>Benefits of FOSS Compliance and Governance</a:t>
            </a:r>
          </a:p>
        </p:txBody>
      </p:sp>
      <p:sp>
        <p:nvSpPr>
          <p:cNvPr id="7" name="TextBox 6">
            <a:extLst>
              <a:ext uri="{FF2B5EF4-FFF2-40B4-BE49-F238E27FC236}">
                <a16:creationId xmlns:a16="http://schemas.microsoft.com/office/drawing/2014/main" id="{C05933DA-44D1-EB70-10B8-E3E8E0137696}"/>
              </a:ext>
            </a:extLst>
          </p:cNvPr>
          <p:cNvSpPr txBox="1"/>
          <p:nvPr/>
        </p:nvSpPr>
        <p:spPr>
          <a:xfrm>
            <a:off x="285548" y="862489"/>
            <a:ext cx="9035734" cy="5575052"/>
          </a:xfrm>
          <a:prstGeom prst="rect">
            <a:avLst/>
          </a:prstGeom>
          <a:noFill/>
        </p:spPr>
        <p:txBody>
          <a:bodyPr wrap="square">
            <a:spAutoFit/>
          </a:bodyPr>
          <a:lstStyle/>
          <a:p>
            <a:pPr marL="342900" indent="-342900">
              <a:lnSpc>
                <a:spcPct val="150000"/>
              </a:lnSpc>
              <a:buFont typeface="Wingdings" panose="05000000000000000000" pitchFamily="2" charset="2"/>
              <a:buChar char="§"/>
            </a:pPr>
            <a:r>
              <a:rPr lang="en-US" sz="2400" dirty="0"/>
              <a:t>Enhance our understanding of the benefits of Open Source and its impact on our organization.</a:t>
            </a:r>
          </a:p>
          <a:p>
            <a:pPr marL="342900" indent="-342900">
              <a:lnSpc>
                <a:spcPct val="150000"/>
              </a:lnSpc>
              <a:buFont typeface="Wingdings" panose="05000000000000000000" pitchFamily="2" charset="2"/>
              <a:buChar char="§"/>
            </a:pPr>
            <a:r>
              <a:rPr lang="en-US" sz="2400" dirty="0"/>
              <a:t>Facilitate the effective usage of Open Source in our products.</a:t>
            </a:r>
          </a:p>
          <a:p>
            <a:pPr marL="342900" indent="-342900">
              <a:lnSpc>
                <a:spcPct val="150000"/>
              </a:lnSpc>
              <a:buFont typeface="Wingdings" panose="05000000000000000000" pitchFamily="2" charset="2"/>
              <a:buChar char="§"/>
            </a:pPr>
            <a:r>
              <a:rPr lang="en-US" sz="2400" dirty="0"/>
              <a:t>Increase awareness of the costs and risks associated with using Open Source.</a:t>
            </a:r>
          </a:p>
          <a:p>
            <a:pPr marL="342900" indent="-342900">
              <a:lnSpc>
                <a:spcPct val="150000"/>
              </a:lnSpc>
              <a:buFont typeface="Wingdings" panose="05000000000000000000" pitchFamily="2" charset="2"/>
              <a:buChar char="§"/>
            </a:pPr>
            <a:r>
              <a:rPr lang="en-US" sz="2400" dirty="0"/>
              <a:t>Expand knowledge of the available Open Source solutions.</a:t>
            </a:r>
          </a:p>
          <a:p>
            <a:pPr marL="342900" indent="-342900">
              <a:lnSpc>
                <a:spcPct val="150000"/>
              </a:lnSpc>
              <a:buFont typeface="Wingdings" panose="05000000000000000000" pitchFamily="2" charset="2"/>
              <a:buChar char="§"/>
            </a:pPr>
            <a:r>
              <a:rPr lang="en-US" sz="2400" dirty="0"/>
              <a:t>Reduce and manage infringement risk while respecting the licensing choices of Open Source developers/owners.</a:t>
            </a:r>
          </a:p>
          <a:p>
            <a:pPr marL="342900" indent="-342900">
              <a:lnSpc>
                <a:spcPct val="150000"/>
              </a:lnSpc>
              <a:buFont typeface="Wingdings" panose="05000000000000000000" pitchFamily="2" charset="2"/>
              <a:buChar char="§"/>
            </a:pPr>
            <a:r>
              <a:rPr lang="en-US" sz="2400" dirty="0"/>
              <a:t>Foster relationships with the Open Source community and organizations.</a:t>
            </a:r>
          </a:p>
        </p:txBody>
      </p:sp>
      <p:sp>
        <p:nvSpPr>
          <p:cNvPr id="4" name="Date Placeholder 3">
            <a:extLst>
              <a:ext uri="{FF2B5EF4-FFF2-40B4-BE49-F238E27FC236}">
                <a16:creationId xmlns:a16="http://schemas.microsoft.com/office/drawing/2014/main" id="{D9D061E2-7723-6F9E-8180-EBADDB131F7B}"/>
              </a:ext>
            </a:extLst>
          </p:cNvPr>
          <p:cNvSpPr>
            <a:spLocks noGrp="1"/>
          </p:cNvSpPr>
          <p:nvPr>
            <p:ph type="dt" idx="10"/>
          </p:nvPr>
        </p:nvSpPr>
        <p:spPr/>
        <p:txBody>
          <a:bodyPr/>
          <a:lstStyle/>
          <a:p>
            <a:r>
              <a:rPr lang="en-US" dirty="0"/>
              <a:t>Sep 2024</a:t>
            </a:r>
          </a:p>
        </p:txBody>
      </p:sp>
      <p:sp>
        <p:nvSpPr>
          <p:cNvPr id="5" name="Footer Placeholder 4">
            <a:extLst>
              <a:ext uri="{FF2B5EF4-FFF2-40B4-BE49-F238E27FC236}">
                <a16:creationId xmlns:a16="http://schemas.microsoft.com/office/drawing/2014/main" id="{019357B3-A845-E96E-B85D-BB3469A801FC}"/>
              </a:ext>
            </a:extLst>
          </p:cNvPr>
          <p:cNvSpPr>
            <a:spLocks noGrp="1"/>
          </p:cNvSpPr>
          <p:nvPr>
            <p:ph type="ftr" idx="11"/>
          </p:nvPr>
        </p:nvSpPr>
        <p:spPr>
          <a:xfrm>
            <a:off x="3696000" y="6489701"/>
            <a:ext cx="4800000" cy="216000"/>
          </a:xfrm>
        </p:spPr>
        <p:txBody>
          <a:bodyPr/>
          <a:lstStyle/>
          <a:p>
            <a:pPr algn="ctr"/>
            <a:r>
              <a:rPr lang="en-US" dirty="0"/>
              <a:t>OSPO</a:t>
            </a:r>
          </a:p>
        </p:txBody>
      </p:sp>
      <p:sp>
        <p:nvSpPr>
          <p:cNvPr id="6" name="Slide Number Placeholder 5">
            <a:extLst>
              <a:ext uri="{FF2B5EF4-FFF2-40B4-BE49-F238E27FC236}">
                <a16:creationId xmlns:a16="http://schemas.microsoft.com/office/drawing/2014/main" id="{D93567A7-E44F-5EF7-6ED5-F0841C1D8559}"/>
              </a:ext>
            </a:extLst>
          </p:cNvPr>
          <p:cNvSpPr>
            <a:spLocks noGrp="1"/>
          </p:cNvSpPr>
          <p:nvPr>
            <p:ph type="sldNum" idx="12"/>
          </p:nvPr>
        </p:nvSpPr>
        <p:spPr/>
        <p:txBody>
          <a:bodyPr/>
          <a:lstStyle/>
          <a:p>
            <a:fld id="{00000000-1234-1234-1234-123412341234}" type="slidenum">
              <a:rPr lang="en-US" smtClean="0"/>
              <a:pPr/>
              <a:t>15</a:t>
            </a:fld>
            <a:endParaRPr lang="en-US"/>
          </a:p>
        </p:txBody>
      </p:sp>
      <p:pic>
        <p:nvPicPr>
          <p:cNvPr id="9" name="Picture 8">
            <a:extLst>
              <a:ext uri="{FF2B5EF4-FFF2-40B4-BE49-F238E27FC236}">
                <a16:creationId xmlns:a16="http://schemas.microsoft.com/office/drawing/2014/main" id="{F2002316-7223-200C-A6BD-09AB4C9D59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48509" y="1968474"/>
            <a:ext cx="3143491" cy="3143491"/>
          </a:xfrm>
          <a:prstGeom prst="rect">
            <a:avLst/>
          </a:prstGeom>
        </p:spPr>
      </p:pic>
    </p:spTree>
    <p:extLst>
      <p:ext uri="{BB962C8B-B14F-4D97-AF65-F5344CB8AC3E}">
        <p14:creationId xmlns:p14="http://schemas.microsoft.com/office/powerpoint/2010/main" val="13075986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009070-30FA-4FC2-AE18-05118246EB88}"/>
              </a:ext>
            </a:extLst>
          </p:cNvPr>
          <p:cNvSpPr>
            <a:spLocks noGrp="1"/>
          </p:cNvSpPr>
          <p:nvPr>
            <p:ph type="body" idx="1"/>
          </p:nvPr>
        </p:nvSpPr>
        <p:spPr>
          <a:xfrm>
            <a:off x="0" y="449849"/>
            <a:ext cx="9683400" cy="336000"/>
          </a:xfrm>
        </p:spPr>
        <p:txBody>
          <a:bodyPr/>
          <a:lstStyle/>
          <a:p>
            <a:r>
              <a:rPr lang="en-US" sz="1600" dirty="0"/>
              <a:t>Agenda</a:t>
            </a:r>
          </a:p>
        </p:txBody>
      </p:sp>
      <p:sp>
        <p:nvSpPr>
          <p:cNvPr id="3" name="Date Placeholder 2">
            <a:extLst>
              <a:ext uri="{FF2B5EF4-FFF2-40B4-BE49-F238E27FC236}">
                <a16:creationId xmlns:a16="http://schemas.microsoft.com/office/drawing/2014/main" id="{1ED30532-1692-D16B-F70A-810EE5AC99D1}"/>
              </a:ext>
            </a:extLst>
          </p:cNvPr>
          <p:cNvSpPr>
            <a:spLocks noGrp="1"/>
          </p:cNvSpPr>
          <p:nvPr>
            <p:ph type="dt" idx="10"/>
          </p:nvPr>
        </p:nvSpPr>
        <p:spPr/>
        <p:txBody>
          <a:bodyPr/>
          <a:lstStyle/>
          <a:p>
            <a:r>
              <a:rPr lang="en-US" sz="1100" dirty="0"/>
              <a:t>Sep 2024</a:t>
            </a:r>
          </a:p>
        </p:txBody>
      </p:sp>
      <p:sp>
        <p:nvSpPr>
          <p:cNvPr id="4" name="Footer Placeholder 3">
            <a:extLst>
              <a:ext uri="{FF2B5EF4-FFF2-40B4-BE49-F238E27FC236}">
                <a16:creationId xmlns:a16="http://schemas.microsoft.com/office/drawing/2014/main" id="{B7D6D767-1A14-98AD-5412-AAF4D04B04D5}"/>
              </a:ext>
            </a:extLst>
          </p:cNvPr>
          <p:cNvSpPr>
            <a:spLocks noGrp="1"/>
          </p:cNvSpPr>
          <p:nvPr>
            <p:ph type="ftr" idx="11"/>
          </p:nvPr>
        </p:nvSpPr>
        <p:spPr>
          <a:xfrm>
            <a:off x="3696000" y="6489699"/>
            <a:ext cx="4800000" cy="216000"/>
          </a:xfrm>
        </p:spPr>
        <p:txBody>
          <a:bodyPr/>
          <a:lstStyle/>
          <a:p>
            <a:pPr algn="ctr"/>
            <a:r>
              <a:rPr lang="en-US" sz="1100" dirty="0"/>
              <a:t>OSPO</a:t>
            </a:r>
          </a:p>
        </p:txBody>
      </p:sp>
      <p:sp>
        <p:nvSpPr>
          <p:cNvPr id="5" name="Slide Number Placeholder 4">
            <a:extLst>
              <a:ext uri="{FF2B5EF4-FFF2-40B4-BE49-F238E27FC236}">
                <a16:creationId xmlns:a16="http://schemas.microsoft.com/office/drawing/2014/main" id="{0A7DD865-F479-E66A-9005-CD59942ABEB3}"/>
              </a:ext>
            </a:extLst>
          </p:cNvPr>
          <p:cNvSpPr>
            <a:spLocks noGrp="1"/>
          </p:cNvSpPr>
          <p:nvPr>
            <p:ph type="sldNum" idx="12"/>
          </p:nvPr>
        </p:nvSpPr>
        <p:spPr/>
        <p:txBody>
          <a:bodyPr/>
          <a:lstStyle/>
          <a:p>
            <a:fld id="{00000000-1234-1234-1234-123412341234}" type="slidenum">
              <a:rPr lang="en-US" sz="1100" smtClean="0"/>
              <a:pPr/>
              <a:t>2</a:t>
            </a:fld>
            <a:endParaRPr lang="en-US" sz="1100"/>
          </a:p>
        </p:txBody>
      </p:sp>
      <p:sp>
        <p:nvSpPr>
          <p:cNvPr id="6" name="Rectangle: Rounded Corners 5">
            <a:extLst>
              <a:ext uri="{FF2B5EF4-FFF2-40B4-BE49-F238E27FC236}">
                <a16:creationId xmlns:a16="http://schemas.microsoft.com/office/drawing/2014/main" id="{DE1EDEF8-2FB7-20C4-ED16-A850CEC21892}"/>
              </a:ext>
            </a:extLst>
          </p:cNvPr>
          <p:cNvSpPr/>
          <p:nvPr/>
        </p:nvSpPr>
        <p:spPr>
          <a:xfrm>
            <a:off x="251925" y="1673803"/>
            <a:ext cx="2360645" cy="154888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400" dirty="0"/>
              <a:t>Introduction to FOSS</a:t>
            </a:r>
          </a:p>
        </p:txBody>
      </p:sp>
      <p:sp>
        <p:nvSpPr>
          <p:cNvPr id="8" name="Rectangle: Rounded Corners 7">
            <a:extLst>
              <a:ext uri="{FF2B5EF4-FFF2-40B4-BE49-F238E27FC236}">
                <a16:creationId xmlns:a16="http://schemas.microsoft.com/office/drawing/2014/main" id="{E3F2A79B-0B73-01B3-5864-1F92DF6FAD29}"/>
              </a:ext>
            </a:extLst>
          </p:cNvPr>
          <p:cNvSpPr/>
          <p:nvPr/>
        </p:nvSpPr>
        <p:spPr>
          <a:xfrm>
            <a:off x="251925" y="4015789"/>
            <a:ext cx="2360645" cy="169004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400" dirty="0"/>
              <a:t>FOSS Consume</a:t>
            </a:r>
          </a:p>
        </p:txBody>
      </p:sp>
      <p:sp>
        <p:nvSpPr>
          <p:cNvPr id="9" name="Rectangle: Rounded Corners 8">
            <a:extLst>
              <a:ext uri="{FF2B5EF4-FFF2-40B4-BE49-F238E27FC236}">
                <a16:creationId xmlns:a16="http://schemas.microsoft.com/office/drawing/2014/main" id="{B129E985-E607-FF5F-5416-D6A09AC7D906}"/>
              </a:ext>
            </a:extLst>
          </p:cNvPr>
          <p:cNvSpPr/>
          <p:nvPr/>
        </p:nvSpPr>
        <p:spPr>
          <a:xfrm>
            <a:off x="3352798" y="1673803"/>
            <a:ext cx="2360645" cy="154888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400" dirty="0"/>
              <a:t>FOSS Pros </a:t>
            </a:r>
          </a:p>
          <a:p>
            <a:pPr algn="ctr"/>
            <a:r>
              <a:rPr lang="en-IN" sz="2400" dirty="0"/>
              <a:t>&amp; Cons</a:t>
            </a:r>
          </a:p>
        </p:txBody>
      </p:sp>
      <p:sp>
        <p:nvSpPr>
          <p:cNvPr id="11" name="Rectangle: Rounded Corners 10">
            <a:extLst>
              <a:ext uri="{FF2B5EF4-FFF2-40B4-BE49-F238E27FC236}">
                <a16:creationId xmlns:a16="http://schemas.microsoft.com/office/drawing/2014/main" id="{DA3B1C35-B666-78C9-0A3F-3296ACAE5870}"/>
              </a:ext>
            </a:extLst>
          </p:cNvPr>
          <p:cNvSpPr/>
          <p:nvPr/>
        </p:nvSpPr>
        <p:spPr>
          <a:xfrm>
            <a:off x="3352798" y="4015789"/>
            <a:ext cx="2360645" cy="169004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400" dirty="0"/>
              <a:t>FOSS Create &amp; Contribute</a:t>
            </a:r>
          </a:p>
        </p:txBody>
      </p:sp>
      <p:sp>
        <p:nvSpPr>
          <p:cNvPr id="12" name="Rectangle: Rounded Corners 11">
            <a:extLst>
              <a:ext uri="{FF2B5EF4-FFF2-40B4-BE49-F238E27FC236}">
                <a16:creationId xmlns:a16="http://schemas.microsoft.com/office/drawing/2014/main" id="{DC608398-942E-FFDA-0126-C9CB07A3A5E3}"/>
              </a:ext>
            </a:extLst>
          </p:cNvPr>
          <p:cNvSpPr/>
          <p:nvPr/>
        </p:nvSpPr>
        <p:spPr>
          <a:xfrm>
            <a:off x="6453671" y="1673803"/>
            <a:ext cx="2360645" cy="154888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400" dirty="0"/>
              <a:t>FOSS Licenses</a:t>
            </a:r>
          </a:p>
        </p:txBody>
      </p:sp>
      <p:sp>
        <p:nvSpPr>
          <p:cNvPr id="13" name="Rectangle: Rounded Corners 12">
            <a:extLst>
              <a:ext uri="{FF2B5EF4-FFF2-40B4-BE49-F238E27FC236}">
                <a16:creationId xmlns:a16="http://schemas.microsoft.com/office/drawing/2014/main" id="{EB1E5991-6990-D779-97F8-F0BEE12C6BE9}"/>
              </a:ext>
            </a:extLst>
          </p:cNvPr>
          <p:cNvSpPr/>
          <p:nvPr/>
        </p:nvSpPr>
        <p:spPr>
          <a:xfrm>
            <a:off x="6453671" y="4015789"/>
            <a:ext cx="2360645" cy="169004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400" dirty="0"/>
              <a:t>FOSS Policy</a:t>
            </a:r>
          </a:p>
        </p:txBody>
      </p:sp>
      <p:sp>
        <p:nvSpPr>
          <p:cNvPr id="14" name="Rectangle: Rounded Corners 13">
            <a:extLst>
              <a:ext uri="{FF2B5EF4-FFF2-40B4-BE49-F238E27FC236}">
                <a16:creationId xmlns:a16="http://schemas.microsoft.com/office/drawing/2014/main" id="{ED85B877-149F-C9CE-1F6D-B5DA95CB5B3D}"/>
              </a:ext>
            </a:extLst>
          </p:cNvPr>
          <p:cNvSpPr/>
          <p:nvPr/>
        </p:nvSpPr>
        <p:spPr>
          <a:xfrm>
            <a:off x="9554544" y="1673803"/>
            <a:ext cx="2360645" cy="154888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400" dirty="0"/>
              <a:t>Real-Time Scenarios</a:t>
            </a:r>
          </a:p>
        </p:txBody>
      </p:sp>
      <p:sp>
        <p:nvSpPr>
          <p:cNvPr id="15" name="Rectangle: Rounded Corners 14">
            <a:extLst>
              <a:ext uri="{FF2B5EF4-FFF2-40B4-BE49-F238E27FC236}">
                <a16:creationId xmlns:a16="http://schemas.microsoft.com/office/drawing/2014/main" id="{0BA41B05-E5B9-9D7F-2186-AAA00B5DA4B0}"/>
              </a:ext>
            </a:extLst>
          </p:cNvPr>
          <p:cNvSpPr/>
          <p:nvPr/>
        </p:nvSpPr>
        <p:spPr>
          <a:xfrm>
            <a:off x="9554544" y="4015789"/>
            <a:ext cx="2360645" cy="169004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400" dirty="0"/>
              <a:t>FOSS Strategy &amp; Tools</a:t>
            </a:r>
          </a:p>
        </p:txBody>
      </p:sp>
    </p:spTree>
    <p:extLst>
      <p:ext uri="{BB962C8B-B14F-4D97-AF65-F5344CB8AC3E}">
        <p14:creationId xmlns:p14="http://schemas.microsoft.com/office/powerpoint/2010/main" val="3069905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7A5FAB5-EBEF-296B-2C9F-93138C378710}"/>
              </a:ext>
            </a:extLst>
          </p:cNvPr>
          <p:cNvSpPr>
            <a:spLocks noGrp="1"/>
          </p:cNvSpPr>
          <p:nvPr>
            <p:ph type="body" idx="1"/>
          </p:nvPr>
        </p:nvSpPr>
        <p:spPr/>
        <p:txBody>
          <a:bodyPr/>
          <a:lstStyle/>
          <a:p>
            <a:r>
              <a:rPr lang="en-US" dirty="0"/>
              <a:t>What is FOSS ?</a:t>
            </a:r>
          </a:p>
        </p:txBody>
      </p:sp>
      <p:sp>
        <p:nvSpPr>
          <p:cNvPr id="11" name="Rectangle 10">
            <a:extLst>
              <a:ext uri="{FF2B5EF4-FFF2-40B4-BE49-F238E27FC236}">
                <a16:creationId xmlns:a16="http://schemas.microsoft.com/office/drawing/2014/main" id="{272B9491-3AA5-4765-A000-08A615F1382C}"/>
              </a:ext>
            </a:extLst>
          </p:cNvPr>
          <p:cNvSpPr/>
          <p:nvPr/>
        </p:nvSpPr>
        <p:spPr>
          <a:xfrm>
            <a:off x="772877" y="3145293"/>
            <a:ext cx="2699667" cy="5987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SOURCE</a:t>
            </a:r>
          </a:p>
        </p:txBody>
      </p:sp>
      <p:sp>
        <p:nvSpPr>
          <p:cNvPr id="12" name="Rectangle 11">
            <a:extLst>
              <a:ext uri="{FF2B5EF4-FFF2-40B4-BE49-F238E27FC236}">
                <a16:creationId xmlns:a16="http://schemas.microsoft.com/office/drawing/2014/main" id="{8E418EC0-D959-B6F9-1BCC-941454D936E1}"/>
              </a:ext>
            </a:extLst>
          </p:cNvPr>
          <p:cNvSpPr/>
          <p:nvPr/>
        </p:nvSpPr>
        <p:spPr>
          <a:xfrm>
            <a:off x="772876" y="4084379"/>
            <a:ext cx="2699667" cy="5987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SOFTWARE</a:t>
            </a:r>
          </a:p>
        </p:txBody>
      </p:sp>
      <p:sp>
        <p:nvSpPr>
          <p:cNvPr id="13" name="Rectangle 12">
            <a:extLst>
              <a:ext uri="{FF2B5EF4-FFF2-40B4-BE49-F238E27FC236}">
                <a16:creationId xmlns:a16="http://schemas.microsoft.com/office/drawing/2014/main" id="{86FB40F9-E569-B208-B3C1-3B8362FFAF93}"/>
              </a:ext>
            </a:extLst>
          </p:cNvPr>
          <p:cNvSpPr/>
          <p:nvPr/>
        </p:nvSpPr>
        <p:spPr>
          <a:xfrm>
            <a:off x="772876" y="1262741"/>
            <a:ext cx="2699667" cy="5987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a:t>FREE</a:t>
            </a:r>
            <a:endParaRPr lang="en-US" sz="2800" dirty="0"/>
          </a:p>
        </p:txBody>
      </p:sp>
      <p:sp>
        <p:nvSpPr>
          <p:cNvPr id="14" name="Rectangle 13">
            <a:extLst>
              <a:ext uri="{FF2B5EF4-FFF2-40B4-BE49-F238E27FC236}">
                <a16:creationId xmlns:a16="http://schemas.microsoft.com/office/drawing/2014/main" id="{9DAEC6C6-277A-0B18-72A0-D01DE133E17B}"/>
              </a:ext>
            </a:extLst>
          </p:cNvPr>
          <p:cNvSpPr/>
          <p:nvPr/>
        </p:nvSpPr>
        <p:spPr>
          <a:xfrm>
            <a:off x="772876" y="2204017"/>
            <a:ext cx="2699667" cy="5987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OPEN</a:t>
            </a:r>
          </a:p>
        </p:txBody>
      </p:sp>
      <p:sp>
        <p:nvSpPr>
          <p:cNvPr id="17" name="TextBox 16">
            <a:extLst>
              <a:ext uri="{FF2B5EF4-FFF2-40B4-BE49-F238E27FC236}">
                <a16:creationId xmlns:a16="http://schemas.microsoft.com/office/drawing/2014/main" id="{FA9754EE-9094-EC5D-F839-C30504D282D7}"/>
              </a:ext>
            </a:extLst>
          </p:cNvPr>
          <p:cNvSpPr txBox="1"/>
          <p:nvPr/>
        </p:nvSpPr>
        <p:spPr>
          <a:xfrm>
            <a:off x="4181871" y="1257717"/>
            <a:ext cx="7188077" cy="3416320"/>
          </a:xfrm>
          <a:prstGeom prst="rect">
            <a:avLst/>
          </a:prstGeom>
          <a:noFill/>
        </p:spPr>
        <p:txBody>
          <a:bodyPr wrap="square">
            <a:spAutoFit/>
          </a:bodyPr>
          <a:lstStyle/>
          <a:p>
            <a:pPr marL="342900" indent="-342900">
              <a:buFont typeface="Wingdings" panose="05000000000000000000" pitchFamily="2" charset="2"/>
              <a:buChar char="§"/>
            </a:pPr>
            <a:r>
              <a:rPr lang="en-US" b="1" dirty="0"/>
              <a:t>"Free and open-source software" (FOSS)</a:t>
            </a:r>
            <a:r>
              <a:rPr lang="en-US" dirty="0"/>
              <a:t> is an umbrella term for software that is simultaneously considered both Free software and open-source software. FOSS (free and open-source software) allows the user to inspect the source code and provides a high level of control of the software's functions compared to proprietary software.</a:t>
            </a:r>
          </a:p>
          <a:p>
            <a:pPr marL="342900" indent="-342900">
              <a:buFont typeface="Wingdings" panose="05000000000000000000" pitchFamily="2" charset="2"/>
              <a:buChar char="§"/>
            </a:pPr>
            <a:r>
              <a:rPr lang="en-US" dirty="0"/>
              <a:t>FOSS is software that is:</a:t>
            </a:r>
          </a:p>
          <a:p>
            <a:pPr marL="702900" lvl="2" indent="-342900">
              <a:buFont typeface="Arial" panose="020B0604020202020204" pitchFamily="34" charset="0"/>
              <a:buChar char="•"/>
            </a:pPr>
            <a:r>
              <a:rPr lang="en-US" dirty="0"/>
              <a:t>Available in source code form</a:t>
            </a:r>
          </a:p>
          <a:p>
            <a:pPr marL="702900" lvl="2" indent="-342900">
              <a:buFont typeface="Arial" panose="020B0604020202020204" pitchFamily="34" charset="0"/>
              <a:buChar char="•"/>
            </a:pPr>
            <a:r>
              <a:rPr lang="en-US" dirty="0"/>
              <a:t>Can be modified and redistributed without additional permission.</a:t>
            </a:r>
          </a:p>
          <a:p>
            <a:pPr marL="342900" indent="-342900">
              <a:buFont typeface="Wingdings" panose="05000000000000000000" pitchFamily="2" charset="2"/>
              <a:buChar char="§"/>
            </a:pPr>
            <a:r>
              <a:rPr lang="en-US" dirty="0"/>
              <a:t>Although it comes with many freedoms, opensource software is licensed software.</a:t>
            </a:r>
          </a:p>
          <a:p>
            <a:pPr marL="342900" indent="-342900">
              <a:buFont typeface="Wingdings" panose="05000000000000000000" pitchFamily="2" charset="2"/>
              <a:buChar char="§"/>
            </a:pPr>
            <a:r>
              <a:rPr lang="en-US" dirty="0"/>
              <a:t>While using the components in proprietary code, obligations of the licenses’ need to be followed.</a:t>
            </a:r>
          </a:p>
        </p:txBody>
      </p:sp>
      <p:sp>
        <p:nvSpPr>
          <p:cNvPr id="18" name="Rectangle 17">
            <a:extLst>
              <a:ext uri="{FF2B5EF4-FFF2-40B4-BE49-F238E27FC236}">
                <a16:creationId xmlns:a16="http://schemas.microsoft.com/office/drawing/2014/main" id="{3BD5622E-D432-76FB-7DAD-7A5D358C6330}"/>
              </a:ext>
            </a:extLst>
          </p:cNvPr>
          <p:cNvSpPr/>
          <p:nvPr/>
        </p:nvSpPr>
        <p:spPr>
          <a:xfrm>
            <a:off x="772876" y="4919722"/>
            <a:ext cx="10597072" cy="1458685"/>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2800" dirty="0"/>
              <a:t>FOSS is based on an advocacy of copyleft concept to use, modify, redistribute and distribute the opensource component and releasing it back to the opensource community under the same license.</a:t>
            </a:r>
            <a:endParaRPr kumimoji="0" lang="en-US" alt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9" name="Date Placeholder 18">
            <a:extLst>
              <a:ext uri="{FF2B5EF4-FFF2-40B4-BE49-F238E27FC236}">
                <a16:creationId xmlns:a16="http://schemas.microsoft.com/office/drawing/2014/main" id="{718A6C0F-08F4-337F-67EA-783B11878615}"/>
              </a:ext>
            </a:extLst>
          </p:cNvPr>
          <p:cNvSpPr>
            <a:spLocks noGrp="1"/>
          </p:cNvSpPr>
          <p:nvPr>
            <p:ph type="dt" idx="10"/>
          </p:nvPr>
        </p:nvSpPr>
        <p:spPr/>
        <p:txBody>
          <a:bodyPr/>
          <a:lstStyle/>
          <a:p>
            <a:r>
              <a:rPr lang="en-US" dirty="0"/>
              <a:t>Sep 2024</a:t>
            </a:r>
          </a:p>
        </p:txBody>
      </p:sp>
      <p:sp>
        <p:nvSpPr>
          <p:cNvPr id="20" name="Footer Placeholder 19">
            <a:extLst>
              <a:ext uri="{FF2B5EF4-FFF2-40B4-BE49-F238E27FC236}">
                <a16:creationId xmlns:a16="http://schemas.microsoft.com/office/drawing/2014/main" id="{2AFBF61B-AC71-7580-D58D-D20DC86C6522}"/>
              </a:ext>
            </a:extLst>
          </p:cNvPr>
          <p:cNvSpPr>
            <a:spLocks noGrp="1"/>
          </p:cNvSpPr>
          <p:nvPr>
            <p:ph type="ftr" idx="11"/>
          </p:nvPr>
        </p:nvSpPr>
        <p:spPr>
          <a:xfrm>
            <a:off x="3671412" y="6408151"/>
            <a:ext cx="4800000" cy="216000"/>
          </a:xfrm>
        </p:spPr>
        <p:txBody>
          <a:bodyPr/>
          <a:lstStyle/>
          <a:p>
            <a:pPr algn="ctr"/>
            <a:r>
              <a:rPr lang="en-US" dirty="0"/>
              <a:t>OSPO</a:t>
            </a:r>
          </a:p>
        </p:txBody>
      </p:sp>
      <p:sp>
        <p:nvSpPr>
          <p:cNvPr id="21" name="Slide Number Placeholder 20">
            <a:extLst>
              <a:ext uri="{FF2B5EF4-FFF2-40B4-BE49-F238E27FC236}">
                <a16:creationId xmlns:a16="http://schemas.microsoft.com/office/drawing/2014/main" id="{76A52F3D-3F52-759E-FE66-FCD62AD099E0}"/>
              </a:ext>
            </a:extLst>
          </p:cNvPr>
          <p:cNvSpPr>
            <a:spLocks noGrp="1"/>
          </p:cNvSpPr>
          <p:nvPr>
            <p:ph type="sldNum" idx="12"/>
          </p:nvPr>
        </p:nvSpPr>
        <p:spPr/>
        <p:txBody>
          <a:bodyPr/>
          <a:lstStyle/>
          <a:p>
            <a:fld id="{00000000-1234-1234-1234-123412341234}" type="slidenum">
              <a:rPr lang="en-US" smtClean="0"/>
              <a:pPr/>
              <a:t>3</a:t>
            </a:fld>
            <a:endParaRPr lang="en-US"/>
          </a:p>
        </p:txBody>
      </p:sp>
    </p:spTree>
    <p:extLst>
      <p:ext uri="{BB962C8B-B14F-4D97-AF65-F5344CB8AC3E}">
        <p14:creationId xmlns:p14="http://schemas.microsoft.com/office/powerpoint/2010/main" val="42653910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7A5FAB5-EBEF-296B-2C9F-93138C378710}"/>
              </a:ext>
            </a:extLst>
          </p:cNvPr>
          <p:cNvSpPr>
            <a:spLocks noGrp="1"/>
          </p:cNvSpPr>
          <p:nvPr>
            <p:ph type="body" idx="1"/>
          </p:nvPr>
        </p:nvSpPr>
        <p:spPr/>
        <p:txBody>
          <a:bodyPr/>
          <a:lstStyle/>
          <a:p>
            <a:r>
              <a:rPr lang="en-US" dirty="0"/>
              <a:t>Free Software</a:t>
            </a:r>
          </a:p>
        </p:txBody>
      </p:sp>
      <p:sp>
        <p:nvSpPr>
          <p:cNvPr id="7" name="TextBox 6">
            <a:extLst>
              <a:ext uri="{FF2B5EF4-FFF2-40B4-BE49-F238E27FC236}">
                <a16:creationId xmlns:a16="http://schemas.microsoft.com/office/drawing/2014/main" id="{C05933DA-44D1-EB70-10B8-E3E8E0137696}"/>
              </a:ext>
            </a:extLst>
          </p:cNvPr>
          <p:cNvSpPr txBox="1"/>
          <p:nvPr/>
        </p:nvSpPr>
        <p:spPr>
          <a:xfrm>
            <a:off x="296103" y="1243580"/>
            <a:ext cx="8984413" cy="4893647"/>
          </a:xfrm>
          <a:prstGeom prst="rect">
            <a:avLst/>
          </a:prstGeom>
          <a:noFill/>
        </p:spPr>
        <p:txBody>
          <a:bodyPr wrap="square">
            <a:spAutoFit/>
          </a:bodyPr>
          <a:lstStyle/>
          <a:p>
            <a:r>
              <a:rPr lang="en-US" sz="2400" b="1" dirty="0"/>
              <a:t>Free Software:</a:t>
            </a:r>
            <a:r>
              <a:rPr lang="en-US" sz="2400" dirty="0"/>
              <a:t> Richard Stallman's Free Software Definition, adopted by the Free Software Foundation (FSF), defines free software as a matter of liberty not price, and it upholds the Four Essential Freedoms (The GNU Project).</a:t>
            </a:r>
          </a:p>
          <a:p>
            <a:endParaRPr lang="en-US" sz="2400" dirty="0"/>
          </a:p>
          <a:p>
            <a:r>
              <a:rPr lang="en-US" sz="2400" b="1" dirty="0"/>
              <a:t>Four essential freedoms of Free Software</a:t>
            </a:r>
          </a:p>
          <a:p>
            <a:r>
              <a:rPr lang="en-US" sz="2400" b="1" dirty="0"/>
              <a:t>Freedom 0:</a:t>
            </a:r>
            <a:r>
              <a:rPr lang="en-US" sz="2400" dirty="0"/>
              <a:t> The freedom to run the program as you wish, for any purpose.</a:t>
            </a:r>
          </a:p>
          <a:p>
            <a:r>
              <a:rPr lang="en-US" sz="2400" b="1" dirty="0"/>
              <a:t>Freedom 1:</a:t>
            </a:r>
            <a:r>
              <a:rPr lang="en-US" sz="2400" dirty="0"/>
              <a:t> The freedom to study how the program works and change it so it does your computing as you wish.</a:t>
            </a:r>
          </a:p>
          <a:p>
            <a:r>
              <a:rPr lang="en-US" sz="2400" b="1" dirty="0"/>
              <a:t>Freedom 2:</a:t>
            </a:r>
            <a:r>
              <a:rPr lang="en-US" sz="2400" dirty="0"/>
              <a:t> The freedom to redistribute copies so you can help others.</a:t>
            </a:r>
          </a:p>
          <a:p>
            <a:r>
              <a:rPr lang="en-US" sz="2400" b="1" dirty="0"/>
              <a:t>Freedom 3:</a:t>
            </a:r>
            <a:r>
              <a:rPr lang="en-US" sz="2400" dirty="0"/>
              <a:t> The freedom to distribute copies of your modified versions to others</a:t>
            </a:r>
          </a:p>
        </p:txBody>
      </p:sp>
      <p:pic>
        <p:nvPicPr>
          <p:cNvPr id="4" name="Picture 3">
            <a:extLst>
              <a:ext uri="{FF2B5EF4-FFF2-40B4-BE49-F238E27FC236}">
                <a16:creationId xmlns:a16="http://schemas.microsoft.com/office/drawing/2014/main" id="{6A5938C1-C2B4-EF8E-2E6A-4A493C1DE888}"/>
              </a:ext>
            </a:extLst>
          </p:cNvPr>
          <p:cNvPicPr>
            <a:picLocks noChangeAspect="1"/>
          </p:cNvPicPr>
          <p:nvPr/>
        </p:nvPicPr>
        <p:blipFill>
          <a:blip r:embed="rId2"/>
          <a:stretch>
            <a:fillRect/>
          </a:stretch>
        </p:blipFill>
        <p:spPr>
          <a:xfrm>
            <a:off x="9280516" y="1062712"/>
            <a:ext cx="2851764" cy="2782329"/>
          </a:xfrm>
          <a:prstGeom prst="rect">
            <a:avLst/>
          </a:prstGeom>
        </p:spPr>
      </p:pic>
      <p:pic>
        <p:nvPicPr>
          <p:cNvPr id="5" name="Picture 4">
            <a:extLst>
              <a:ext uri="{FF2B5EF4-FFF2-40B4-BE49-F238E27FC236}">
                <a16:creationId xmlns:a16="http://schemas.microsoft.com/office/drawing/2014/main" id="{4CC50B49-28D1-9991-28AF-A03CE0F4698A}"/>
              </a:ext>
            </a:extLst>
          </p:cNvPr>
          <p:cNvPicPr>
            <a:picLocks noChangeAspect="1"/>
          </p:cNvPicPr>
          <p:nvPr/>
        </p:nvPicPr>
        <p:blipFill>
          <a:blip r:embed="rId3"/>
          <a:stretch>
            <a:fillRect/>
          </a:stretch>
        </p:blipFill>
        <p:spPr>
          <a:xfrm>
            <a:off x="9280516" y="3884067"/>
            <a:ext cx="2852552" cy="2605634"/>
          </a:xfrm>
          <a:prstGeom prst="rect">
            <a:avLst/>
          </a:prstGeom>
        </p:spPr>
      </p:pic>
      <p:sp>
        <p:nvSpPr>
          <p:cNvPr id="6" name="Date Placeholder 5">
            <a:extLst>
              <a:ext uri="{FF2B5EF4-FFF2-40B4-BE49-F238E27FC236}">
                <a16:creationId xmlns:a16="http://schemas.microsoft.com/office/drawing/2014/main" id="{5CF4BC94-7087-EFF5-E38C-BF6BB4548241}"/>
              </a:ext>
            </a:extLst>
          </p:cNvPr>
          <p:cNvSpPr>
            <a:spLocks noGrp="1"/>
          </p:cNvSpPr>
          <p:nvPr>
            <p:ph type="dt" idx="10"/>
          </p:nvPr>
        </p:nvSpPr>
        <p:spPr/>
        <p:txBody>
          <a:bodyPr/>
          <a:lstStyle/>
          <a:p>
            <a:r>
              <a:rPr lang="en-US" dirty="0"/>
              <a:t>Sep 2024</a:t>
            </a:r>
          </a:p>
        </p:txBody>
      </p:sp>
      <p:sp>
        <p:nvSpPr>
          <p:cNvPr id="9" name="Footer Placeholder 8">
            <a:extLst>
              <a:ext uri="{FF2B5EF4-FFF2-40B4-BE49-F238E27FC236}">
                <a16:creationId xmlns:a16="http://schemas.microsoft.com/office/drawing/2014/main" id="{02622A2F-9EF9-392D-6C88-BBCBC95884BA}"/>
              </a:ext>
            </a:extLst>
          </p:cNvPr>
          <p:cNvSpPr>
            <a:spLocks noGrp="1"/>
          </p:cNvSpPr>
          <p:nvPr>
            <p:ph type="ftr" idx="11"/>
          </p:nvPr>
        </p:nvSpPr>
        <p:spPr>
          <a:xfrm>
            <a:off x="3696000" y="6489701"/>
            <a:ext cx="4800000" cy="216000"/>
          </a:xfrm>
        </p:spPr>
        <p:txBody>
          <a:bodyPr/>
          <a:lstStyle/>
          <a:p>
            <a:pPr algn="ctr"/>
            <a:r>
              <a:rPr lang="en-US" dirty="0"/>
              <a:t>OSPO</a:t>
            </a:r>
          </a:p>
        </p:txBody>
      </p:sp>
      <p:sp>
        <p:nvSpPr>
          <p:cNvPr id="10" name="Slide Number Placeholder 9">
            <a:extLst>
              <a:ext uri="{FF2B5EF4-FFF2-40B4-BE49-F238E27FC236}">
                <a16:creationId xmlns:a16="http://schemas.microsoft.com/office/drawing/2014/main" id="{7941DA61-F9F8-4895-B276-B0D931C582B9}"/>
              </a:ext>
            </a:extLst>
          </p:cNvPr>
          <p:cNvSpPr>
            <a:spLocks noGrp="1"/>
          </p:cNvSpPr>
          <p:nvPr>
            <p:ph type="sldNum" idx="12"/>
          </p:nvPr>
        </p:nvSpPr>
        <p:spPr/>
        <p:txBody>
          <a:bodyPr/>
          <a:lstStyle/>
          <a:p>
            <a:fld id="{00000000-1234-1234-1234-123412341234}" type="slidenum">
              <a:rPr lang="en-US" smtClean="0"/>
              <a:pPr/>
              <a:t>4</a:t>
            </a:fld>
            <a:endParaRPr lang="en-US"/>
          </a:p>
        </p:txBody>
      </p:sp>
    </p:spTree>
    <p:extLst>
      <p:ext uri="{BB962C8B-B14F-4D97-AF65-F5344CB8AC3E}">
        <p14:creationId xmlns:p14="http://schemas.microsoft.com/office/powerpoint/2010/main" val="32423948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7A5FAB5-EBEF-296B-2C9F-93138C378710}"/>
              </a:ext>
            </a:extLst>
          </p:cNvPr>
          <p:cNvSpPr>
            <a:spLocks noGrp="1"/>
          </p:cNvSpPr>
          <p:nvPr>
            <p:ph type="body" idx="1"/>
          </p:nvPr>
        </p:nvSpPr>
        <p:spPr/>
        <p:txBody>
          <a:bodyPr/>
          <a:lstStyle/>
          <a:p>
            <a:r>
              <a:rPr lang="en-US" dirty="0"/>
              <a:t>Open Source Software</a:t>
            </a:r>
          </a:p>
        </p:txBody>
      </p:sp>
      <p:sp>
        <p:nvSpPr>
          <p:cNvPr id="7" name="TextBox 6">
            <a:extLst>
              <a:ext uri="{FF2B5EF4-FFF2-40B4-BE49-F238E27FC236}">
                <a16:creationId xmlns:a16="http://schemas.microsoft.com/office/drawing/2014/main" id="{C05933DA-44D1-EB70-10B8-E3E8E0137696}"/>
              </a:ext>
            </a:extLst>
          </p:cNvPr>
          <p:cNvSpPr txBox="1"/>
          <p:nvPr/>
        </p:nvSpPr>
        <p:spPr>
          <a:xfrm>
            <a:off x="546099" y="903902"/>
            <a:ext cx="7440309" cy="5324535"/>
          </a:xfrm>
          <a:prstGeom prst="rect">
            <a:avLst/>
          </a:prstGeom>
          <a:noFill/>
        </p:spPr>
        <p:txBody>
          <a:bodyPr wrap="square">
            <a:spAutoFit/>
          </a:bodyPr>
          <a:lstStyle/>
          <a:p>
            <a:r>
              <a:rPr lang="en-US" sz="2000" b="1" dirty="0"/>
              <a:t>A computer software with its source code made available with a license in which the copyright holder provides the rights to study, change, and distribute the software to anyone and for any purpose.</a:t>
            </a:r>
            <a:r>
              <a:rPr lang="en-US" sz="2000" dirty="0"/>
              <a:t> </a:t>
            </a:r>
          </a:p>
          <a:p>
            <a:endParaRPr lang="en-US" sz="2000" dirty="0"/>
          </a:p>
          <a:p>
            <a:r>
              <a:rPr lang="en-US" sz="2000" dirty="0"/>
              <a:t>The OSI approved licenses are based on their Open Source Definition (OSD), which is mentioned below.</a:t>
            </a:r>
          </a:p>
          <a:p>
            <a:endParaRPr lang="en-US" sz="2000" dirty="0"/>
          </a:p>
          <a:p>
            <a:pPr marL="457200" indent="-457200">
              <a:buFont typeface="+mj-lt"/>
              <a:buAutoNum type="arabicPeriod"/>
            </a:pPr>
            <a:r>
              <a:rPr lang="en-US" sz="2000" dirty="0"/>
              <a:t>Free Redistribution</a:t>
            </a:r>
          </a:p>
          <a:p>
            <a:pPr marL="457200" indent="-457200">
              <a:buFont typeface="+mj-lt"/>
              <a:buAutoNum type="arabicPeriod"/>
            </a:pPr>
            <a:r>
              <a:rPr lang="en-US" sz="2000" dirty="0"/>
              <a:t>Source Code</a:t>
            </a:r>
          </a:p>
          <a:p>
            <a:pPr marL="457200" indent="-457200">
              <a:buFont typeface="+mj-lt"/>
              <a:buAutoNum type="arabicPeriod"/>
            </a:pPr>
            <a:r>
              <a:rPr lang="en-US" sz="2000" dirty="0"/>
              <a:t>Derived Works</a:t>
            </a:r>
          </a:p>
          <a:p>
            <a:pPr marL="457200" indent="-457200">
              <a:buFont typeface="+mj-lt"/>
              <a:buAutoNum type="arabicPeriod"/>
            </a:pPr>
            <a:r>
              <a:rPr lang="en-US" sz="2000" dirty="0"/>
              <a:t>Integrity of The Author's Source Code</a:t>
            </a:r>
          </a:p>
          <a:p>
            <a:pPr marL="457200" indent="-457200">
              <a:buFont typeface="+mj-lt"/>
              <a:buAutoNum type="arabicPeriod"/>
            </a:pPr>
            <a:r>
              <a:rPr lang="en-US" sz="2000" dirty="0"/>
              <a:t>No Discrimination Against Persons or Groups</a:t>
            </a:r>
          </a:p>
          <a:p>
            <a:pPr marL="457200" indent="-457200">
              <a:buFont typeface="+mj-lt"/>
              <a:buAutoNum type="arabicPeriod"/>
            </a:pPr>
            <a:r>
              <a:rPr lang="en-US" sz="2000" dirty="0"/>
              <a:t>No Discrimination Against Fields of Endeavor</a:t>
            </a:r>
          </a:p>
          <a:p>
            <a:pPr marL="457200" indent="-457200">
              <a:buFont typeface="+mj-lt"/>
              <a:buAutoNum type="arabicPeriod"/>
            </a:pPr>
            <a:r>
              <a:rPr lang="en-US" sz="2000" dirty="0"/>
              <a:t>Distribution of License</a:t>
            </a:r>
          </a:p>
          <a:p>
            <a:pPr marL="457200" indent="-457200">
              <a:buFont typeface="+mj-lt"/>
              <a:buAutoNum type="arabicPeriod"/>
            </a:pPr>
            <a:r>
              <a:rPr lang="en-US" sz="2000" dirty="0"/>
              <a:t>License Must Not Be Specific to a Product</a:t>
            </a:r>
          </a:p>
          <a:p>
            <a:pPr marL="457200" indent="-457200">
              <a:buFont typeface="+mj-lt"/>
              <a:buAutoNum type="arabicPeriod"/>
            </a:pPr>
            <a:r>
              <a:rPr lang="en-US" sz="2000" dirty="0"/>
              <a:t>License Must Not Restrict Other Software</a:t>
            </a:r>
          </a:p>
          <a:p>
            <a:pPr marL="457200" indent="-457200">
              <a:buFont typeface="+mj-lt"/>
              <a:buAutoNum type="arabicPeriod"/>
            </a:pPr>
            <a:r>
              <a:rPr lang="en-US" sz="2000" dirty="0"/>
              <a:t>License Must Be Technology-Neutral</a:t>
            </a:r>
          </a:p>
        </p:txBody>
      </p:sp>
      <p:sp>
        <p:nvSpPr>
          <p:cNvPr id="4" name="Date Placeholder 3">
            <a:extLst>
              <a:ext uri="{FF2B5EF4-FFF2-40B4-BE49-F238E27FC236}">
                <a16:creationId xmlns:a16="http://schemas.microsoft.com/office/drawing/2014/main" id="{202B4F57-380B-22A2-E198-74CA4F400B62}"/>
              </a:ext>
            </a:extLst>
          </p:cNvPr>
          <p:cNvSpPr>
            <a:spLocks noGrp="1"/>
          </p:cNvSpPr>
          <p:nvPr>
            <p:ph type="dt" idx="10"/>
          </p:nvPr>
        </p:nvSpPr>
        <p:spPr/>
        <p:txBody>
          <a:bodyPr/>
          <a:lstStyle/>
          <a:p>
            <a:r>
              <a:rPr lang="en-US" dirty="0"/>
              <a:t>Sep 2024</a:t>
            </a:r>
          </a:p>
        </p:txBody>
      </p:sp>
      <p:sp>
        <p:nvSpPr>
          <p:cNvPr id="5" name="Footer Placeholder 4">
            <a:extLst>
              <a:ext uri="{FF2B5EF4-FFF2-40B4-BE49-F238E27FC236}">
                <a16:creationId xmlns:a16="http://schemas.microsoft.com/office/drawing/2014/main" id="{B8E6BEC1-5ABA-F040-38E0-9D883F992CFE}"/>
              </a:ext>
            </a:extLst>
          </p:cNvPr>
          <p:cNvSpPr>
            <a:spLocks noGrp="1"/>
          </p:cNvSpPr>
          <p:nvPr>
            <p:ph type="ftr" idx="11"/>
          </p:nvPr>
        </p:nvSpPr>
        <p:spPr>
          <a:xfrm>
            <a:off x="3696000" y="6489701"/>
            <a:ext cx="4800000" cy="216000"/>
          </a:xfrm>
        </p:spPr>
        <p:txBody>
          <a:bodyPr/>
          <a:lstStyle/>
          <a:p>
            <a:pPr algn="ctr"/>
            <a:r>
              <a:rPr lang="en-US" dirty="0"/>
              <a:t>OSPO</a:t>
            </a:r>
          </a:p>
        </p:txBody>
      </p:sp>
      <p:sp>
        <p:nvSpPr>
          <p:cNvPr id="6" name="Slide Number Placeholder 5">
            <a:extLst>
              <a:ext uri="{FF2B5EF4-FFF2-40B4-BE49-F238E27FC236}">
                <a16:creationId xmlns:a16="http://schemas.microsoft.com/office/drawing/2014/main" id="{EBF78847-B904-8C25-A589-AFF44DB8CD17}"/>
              </a:ext>
            </a:extLst>
          </p:cNvPr>
          <p:cNvSpPr>
            <a:spLocks noGrp="1"/>
          </p:cNvSpPr>
          <p:nvPr>
            <p:ph type="sldNum" idx="12"/>
          </p:nvPr>
        </p:nvSpPr>
        <p:spPr/>
        <p:txBody>
          <a:bodyPr/>
          <a:lstStyle/>
          <a:p>
            <a:fld id="{00000000-1234-1234-1234-123412341234}" type="slidenum">
              <a:rPr lang="en-US" smtClean="0"/>
              <a:pPr/>
              <a:t>5</a:t>
            </a:fld>
            <a:endParaRPr lang="en-US" dirty="0"/>
          </a:p>
        </p:txBody>
      </p:sp>
      <p:pic>
        <p:nvPicPr>
          <p:cNvPr id="9" name="Picture 8" descr="A picture containing drawing&#10;&#10;Description automatically generated">
            <a:extLst>
              <a:ext uri="{FF2B5EF4-FFF2-40B4-BE49-F238E27FC236}">
                <a16:creationId xmlns:a16="http://schemas.microsoft.com/office/drawing/2014/main" id="{B41C3D53-5F94-9371-40F6-922096F39F8B}"/>
              </a:ext>
            </a:extLst>
          </p:cNvPr>
          <p:cNvPicPr>
            <a:picLocks noChangeAspect="1"/>
          </p:cNvPicPr>
          <p:nvPr/>
        </p:nvPicPr>
        <p:blipFill>
          <a:blip r:embed="rId2"/>
          <a:stretch>
            <a:fillRect/>
          </a:stretch>
        </p:blipFill>
        <p:spPr>
          <a:xfrm>
            <a:off x="8087349" y="1324755"/>
            <a:ext cx="3543117" cy="5005355"/>
          </a:xfrm>
          <a:prstGeom prst="rect">
            <a:avLst/>
          </a:prstGeom>
        </p:spPr>
      </p:pic>
    </p:spTree>
    <p:extLst>
      <p:ext uri="{BB962C8B-B14F-4D97-AF65-F5344CB8AC3E}">
        <p14:creationId xmlns:p14="http://schemas.microsoft.com/office/powerpoint/2010/main" val="36206639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7A5FAB5-EBEF-296B-2C9F-93138C378710}"/>
              </a:ext>
            </a:extLst>
          </p:cNvPr>
          <p:cNvSpPr>
            <a:spLocks noGrp="1"/>
          </p:cNvSpPr>
          <p:nvPr>
            <p:ph type="body" idx="1"/>
          </p:nvPr>
        </p:nvSpPr>
        <p:spPr/>
        <p:txBody>
          <a:bodyPr/>
          <a:lstStyle/>
          <a:p>
            <a:r>
              <a:rPr lang="en-US" dirty="0"/>
              <a:t>Open Source Definitions</a:t>
            </a:r>
          </a:p>
        </p:txBody>
      </p:sp>
      <p:sp>
        <p:nvSpPr>
          <p:cNvPr id="4" name="Date Placeholder 3">
            <a:extLst>
              <a:ext uri="{FF2B5EF4-FFF2-40B4-BE49-F238E27FC236}">
                <a16:creationId xmlns:a16="http://schemas.microsoft.com/office/drawing/2014/main" id="{5EFD0593-FB1A-05A1-DFD7-8035B7B972D7}"/>
              </a:ext>
            </a:extLst>
          </p:cNvPr>
          <p:cNvSpPr>
            <a:spLocks noGrp="1"/>
          </p:cNvSpPr>
          <p:nvPr>
            <p:ph type="dt" idx="10"/>
          </p:nvPr>
        </p:nvSpPr>
        <p:spPr/>
        <p:txBody>
          <a:bodyPr/>
          <a:lstStyle/>
          <a:p>
            <a:r>
              <a:rPr lang="en-US" dirty="0"/>
              <a:t>Sep 2024</a:t>
            </a:r>
          </a:p>
        </p:txBody>
      </p:sp>
      <p:sp>
        <p:nvSpPr>
          <p:cNvPr id="5" name="Footer Placeholder 4">
            <a:extLst>
              <a:ext uri="{FF2B5EF4-FFF2-40B4-BE49-F238E27FC236}">
                <a16:creationId xmlns:a16="http://schemas.microsoft.com/office/drawing/2014/main" id="{002A8F7A-6D00-9640-0EFB-2BC5415196B2}"/>
              </a:ext>
            </a:extLst>
          </p:cNvPr>
          <p:cNvSpPr>
            <a:spLocks noGrp="1"/>
          </p:cNvSpPr>
          <p:nvPr>
            <p:ph type="ftr" idx="11"/>
          </p:nvPr>
        </p:nvSpPr>
        <p:spPr>
          <a:xfrm>
            <a:off x="3696000" y="6489701"/>
            <a:ext cx="4800000" cy="216000"/>
          </a:xfrm>
        </p:spPr>
        <p:txBody>
          <a:bodyPr/>
          <a:lstStyle/>
          <a:p>
            <a:pPr algn="ctr"/>
            <a:r>
              <a:rPr lang="en-US" dirty="0"/>
              <a:t>OSPO</a:t>
            </a:r>
          </a:p>
        </p:txBody>
      </p:sp>
      <p:sp>
        <p:nvSpPr>
          <p:cNvPr id="6" name="Slide Number Placeholder 5">
            <a:extLst>
              <a:ext uri="{FF2B5EF4-FFF2-40B4-BE49-F238E27FC236}">
                <a16:creationId xmlns:a16="http://schemas.microsoft.com/office/drawing/2014/main" id="{0C88E283-F8B4-205A-BAB6-AA71422DC309}"/>
              </a:ext>
            </a:extLst>
          </p:cNvPr>
          <p:cNvSpPr>
            <a:spLocks noGrp="1"/>
          </p:cNvSpPr>
          <p:nvPr>
            <p:ph type="sldNum" idx="12"/>
          </p:nvPr>
        </p:nvSpPr>
        <p:spPr/>
        <p:txBody>
          <a:bodyPr/>
          <a:lstStyle/>
          <a:p>
            <a:fld id="{00000000-1234-1234-1234-123412341234}" type="slidenum">
              <a:rPr lang="en-US" smtClean="0"/>
              <a:pPr/>
              <a:t>6</a:t>
            </a:fld>
            <a:endParaRPr lang="en-US"/>
          </a:p>
        </p:txBody>
      </p:sp>
      <p:pic>
        <p:nvPicPr>
          <p:cNvPr id="9" name="table">
            <a:extLst>
              <a:ext uri="{FF2B5EF4-FFF2-40B4-BE49-F238E27FC236}">
                <a16:creationId xmlns:a16="http://schemas.microsoft.com/office/drawing/2014/main" id="{AEEC5E75-13D4-4427-A261-AF734F971538}"/>
              </a:ext>
            </a:extLst>
          </p:cNvPr>
          <p:cNvPicPr>
            <a:picLocks noChangeAspect="1"/>
          </p:cNvPicPr>
          <p:nvPr/>
        </p:nvPicPr>
        <p:blipFill>
          <a:blip r:embed="rId2"/>
          <a:stretch>
            <a:fillRect/>
          </a:stretch>
        </p:blipFill>
        <p:spPr>
          <a:xfrm>
            <a:off x="1012375" y="1017952"/>
            <a:ext cx="10003972" cy="5285359"/>
          </a:xfrm>
          <a:prstGeom prst="rect">
            <a:avLst/>
          </a:prstGeom>
        </p:spPr>
      </p:pic>
    </p:spTree>
    <p:extLst>
      <p:ext uri="{BB962C8B-B14F-4D97-AF65-F5344CB8AC3E}">
        <p14:creationId xmlns:p14="http://schemas.microsoft.com/office/powerpoint/2010/main" val="42391748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7A5FAB5-EBEF-296B-2C9F-93138C378710}"/>
              </a:ext>
            </a:extLst>
          </p:cNvPr>
          <p:cNvSpPr>
            <a:spLocks noGrp="1"/>
          </p:cNvSpPr>
          <p:nvPr>
            <p:ph type="body" idx="1"/>
          </p:nvPr>
        </p:nvSpPr>
        <p:spPr/>
        <p:txBody>
          <a:bodyPr/>
          <a:lstStyle/>
          <a:p>
            <a:r>
              <a:rPr lang="en-US" dirty="0"/>
              <a:t>The Open Source Movement  started in 1975 &amp; still going strong!</a:t>
            </a:r>
          </a:p>
        </p:txBody>
      </p:sp>
      <p:sp>
        <p:nvSpPr>
          <p:cNvPr id="7" name="TextBox 6">
            <a:extLst>
              <a:ext uri="{FF2B5EF4-FFF2-40B4-BE49-F238E27FC236}">
                <a16:creationId xmlns:a16="http://schemas.microsoft.com/office/drawing/2014/main" id="{C05933DA-44D1-EB70-10B8-E3E8E0137696}"/>
              </a:ext>
            </a:extLst>
          </p:cNvPr>
          <p:cNvSpPr txBox="1"/>
          <p:nvPr/>
        </p:nvSpPr>
        <p:spPr>
          <a:xfrm>
            <a:off x="134522" y="975507"/>
            <a:ext cx="7122956" cy="5324535"/>
          </a:xfrm>
          <a:prstGeom prst="rect">
            <a:avLst/>
          </a:prstGeom>
          <a:noFill/>
        </p:spPr>
        <p:txBody>
          <a:bodyPr wrap="square">
            <a:spAutoFit/>
          </a:bodyPr>
          <a:lstStyle/>
          <a:p>
            <a:pPr marL="285750" indent="-285750">
              <a:buFont typeface="Arial" panose="020B0604020202020204" pitchFamily="34" charset="0"/>
              <a:buChar char="•"/>
            </a:pPr>
            <a:r>
              <a:rPr lang="en-US" sz="2000" dirty="0"/>
              <a:t>March 5 1975: Homebrew Computer Club formed - Open exchange of computer ideas – launched personal computer revolution including Apple   </a:t>
            </a:r>
          </a:p>
          <a:p>
            <a:pPr marL="285750" indent="-285750">
              <a:buFont typeface="Arial" panose="020B0604020202020204" pitchFamily="34" charset="0"/>
              <a:buChar char="•"/>
            </a:pPr>
            <a:r>
              <a:rPr lang="en-US" sz="2000" dirty="0"/>
              <a:t>Sep 27 1983 - Richard Stallman announced GNU Project for free Unix! </a:t>
            </a:r>
          </a:p>
          <a:p>
            <a:pPr marL="285750" indent="-285750">
              <a:buFont typeface="Arial" panose="020B0604020202020204" pitchFamily="34" charset="0"/>
              <a:buChar char="•"/>
            </a:pPr>
            <a:r>
              <a:rPr lang="en-US" sz="2000" dirty="0"/>
              <a:t>Oct 1985 – Free Software Foundation (FSF) formed.</a:t>
            </a:r>
          </a:p>
          <a:p>
            <a:pPr marL="285750" indent="-285750">
              <a:buFont typeface="Arial" panose="020B0604020202020204" pitchFamily="34" charset="0"/>
              <a:buChar char="•"/>
            </a:pPr>
            <a:r>
              <a:rPr lang="en-US" sz="2000" dirty="0"/>
              <a:t>1991 – Linus </a:t>
            </a:r>
            <a:r>
              <a:rPr lang="en-US" sz="2000" dirty="0" err="1"/>
              <a:t>Trovalds</a:t>
            </a:r>
            <a:r>
              <a:rPr lang="en-US" sz="2000" dirty="0"/>
              <a:t> creates Linux1</a:t>
            </a:r>
          </a:p>
          <a:p>
            <a:pPr marL="285750" indent="-285750">
              <a:buFont typeface="Arial" panose="020B0604020202020204" pitchFamily="34" charset="0"/>
              <a:buChar char="•"/>
            </a:pPr>
            <a:r>
              <a:rPr lang="en-US" sz="2000" dirty="0"/>
              <a:t>Feb 1998 – Bruce </a:t>
            </a:r>
            <a:r>
              <a:rPr lang="en-US" sz="2000" dirty="0" err="1"/>
              <a:t>Perens</a:t>
            </a:r>
            <a:r>
              <a:rPr lang="en-US" sz="2000" dirty="0"/>
              <a:t> and Eric S. Raymond founded Open Source Initiative (OSI)</a:t>
            </a:r>
          </a:p>
          <a:p>
            <a:pPr marL="285750" indent="-285750">
              <a:buFont typeface="Arial" panose="020B0604020202020204" pitchFamily="34" charset="0"/>
              <a:buChar char="•"/>
            </a:pPr>
            <a:r>
              <a:rPr lang="en-US" sz="2000" dirty="0"/>
              <a:t>2000 - SPDX by Linux Foundation.</a:t>
            </a:r>
          </a:p>
          <a:p>
            <a:pPr marL="285750" indent="-285750">
              <a:buFont typeface="Arial" panose="020B0604020202020204" pitchFamily="34" charset="0"/>
              <a:buChar char="•"/>
            </a:pPr>
            <a:r>
              <a:rPr lang="en-US" sz="2000" dirty="0"/>
              <a:t>2000 - The </a:t>
            </a:r>
            <a:r>
              <a:rPr lang="en-US" sz="2000" dirty="0" err="1"/>
              <a:t>OpenChain</a:t>
            </a:r>
            <a:r>
              <a:rPr lang="en-US" sz="2000" dirty="0"/>
              <a:t> project</a:t>
            </a:r>
          </a:p>
          <a:p>
            <a:pPr marL="285750" indent="-285750">
              <a:buFont typeface="Arial" panose="020B0604020202020204" pitchFamily="34" charset="0"/>
              <a:buChar char="•"/>
            </a:pPr>
            <a:r>
              <a:rPr lang="en-US" sz="2000" dirty="0"/>
              <a:t>2020 - SBOM by National Telecommunications and Information Administration (NTIA)</a:t>
            </a:r>
          </a:p>
          <a:p>
            <a:pPr marL="285750" indent="-285750">
              <a:buFont typeface="Arial" panose="020B0604020202020204" pitchFamily="34" charset="0"/>
              <a:buChar char="•"/>
            </a:pPr>
            <a:r>
              <a:rPr lang="en-US" sz="2000" dirty="0"/>
              <a:t>Last decade: More OSS projects Apache web server, Samba, GNOME, KDE, GIMP,  MySQL, PostgreSQL, PHP,  Mailman, XFree86, bind, GCC, Perl, Python, Mozilla, LibreOffice, GitHub, many</a:t>
            </a:r>
          </a:p>
        </p:txBody>
      </p:sp>
      <p:sp>
        <p:nvSpPr>
          <p:cNvPr id="4" name="Date Placeholder 3">
            <a:extLst>
              <a:ext uri="{FF2B5EF4-FFF2-40B4-BE49-F238E27FC236}">
                <a16:creationId xmlns:a16="http://schemas.microsoft.com/office/drawing/2014/main" id="{202B4F57-380B-22A2-E198-74CA4F400B62}"/>
              </a:ext>
            </a:extLst>
          </p:cNvPr>
          <p:cNvSpPr>
            <a:spLocks noGrp="1"/>
          </p:cNvSpPr>
          <p:nvPr>
            <p:ph type="dt" idx="10"/>
          </p:nvPr>
        </p:nvSpPr>
        <p:spPr/>
        <p:txBody>
          <a:bodyPr/>
          <a:lstStyle/>
          <a:p>
            <a:r>
              <a:rPr lang="en-US" dirty="0"/>
              <a:t>Sep 2024</a:t>
            </a:r>
          </a:p>
        </p:txBody>
      </p:sp>
      <p:sp>
        <p:nvSpPr>
          <p:cNvPr id="5" name="Footer Placeholder 4">
            <a:extLst>
              <a:ext uri="{FF2B5EF4-FFF2-40B4-BE49-F238E27FC236}">
                <a16:creationId xmlns:a16="http://schemas.microsoft.com/office/drawing/2014/main" id="{B8E6BEC1-5ABA-F040-38E0-9D883F992CFE}"/>
              </a:ext>
            </a:extLst>
          </p:cNvPr>
          <p:cNvSpPr>
            <a:spLocks noGrp="1"/>
          </p:cNvSpPr>
          <p:nvPr>
            <p:ph type="ftr" idx="11"/>
          </p:nvPr>
        </p:nvSpPr>
        <p:spPr>
          <a:xfrm>
            <a:off x="3696000" y="6489701"/>
            <a:ext cx="4800000" cy="216000"/>
          </a:xfrm>
        </p:spPr>
        <p:txBody>
          <a:bodyPr/>
          <a:lstStyle/>
          <a:p>
            <a:pPr algn="ctr"/>
            <a:r>
              <a:rPr lang="en-US" dirty="0"/>
              <a:t>OSPO</a:t>
            </a:r>
          </a:p>
        </p:txBody>
      </p:sp>
      <p:sp>
        <p:nvSpPr>
          <p:cNvPr id="6" name="Slide Number Placeholder 5">
            <a:extLst>
              <a:ext uri="{FF2B5EF4-FFF2-40B4-BE49-F238E27FC236}">
                <a16:creationId xmlns:a16="http://schemas.microsoft.com/office/drawing/2014/main" id="{EBF78847-B904-8C25-A589-AFF44DB8CD17}"/>
              </a:ext>
            </a:extLst>
          </p:cNvPr>
          <p:cNvSpPr>
            <a:spLocks noGrp="1"/>
          </p:cNvSpPr>
          <p:nvPr>
            <p:ph type="sldNum" idx="12"/>
          </p:nvPr>
        </p:nvSpPr>
        <p:spPr/>
        <p:txBody>
          <a:bodyPr/>
          <a:lstStyle/>
          <a:p>
            <a:fld id="{00000000-1234-1234-1234-123412341234}" type="slidenum">
              <a:rPr lang="en-US" smtClean="0"/>
              <a:pPr/>
              <a:t>7</a:t>
            </a:fld>
            <a:endParaRPr lang="en-US" dirty="0"/>
          </a:p>
        </p:txBody>
      </p:sp>
      <p:pic>
        <p:nvPicPr>
          <p:cNvPr id="3" name="Picture 2" descr="Logo, company name&#10;&#10;Description automatically generated">
            <a:extLst>
              <a:ext uri="{FF2B5EF4-FFF2-40B4-BE49-F238E27FC236}">
                <a16:creationId xmlns:a16="http://schemas.microsoft.com/office/drawing/2014/main" id="{CBFD4487-D610-CD66-750F-70A68AA32B23}"/>
              </a:ext>
            </a:extLst>
          </p:cNvPr>
          <p:cNvPicPr>
            <a:picLocks noChangeAspect="1"/>
          </p:cNvPicPr>
          <p:nvPr/>
        </p:nvPicPr>
        <p:blipFill>
          <a:blip r:embed="rId2"/>
          <a:stretch>
            <a:fillRect/>
          </a:stretch>
        </p:blipFill>
        <p:spPr>
          <a:xfrm>
            <a:off x="7183436" y="1306250"/>
            <a:ext cx="4999930" cy="4576243"/>
          </a:xfrm>
          <a:prstGeom prst="rect">
            <a:avLst/>
          </a:prstGeom>
        </p:spPr>
      </p:pic>
    </p:spTree>
    <p:extLst>
      <p:ext uri="{BB962C8B-B14F-4D97-AF65-F5344CB8AC3E}">
        <p14:creationId xmlns:p14="http://schemas.microsoft.com/office/powerpoint/2010/main" val="41922519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7A5FAB5-EBEF-296B-2C9F-93138C378710}"/>
              </a:ext>
            </a:extLst>
          </p:cNvPr>
          <p:cNvSpPr>
            <a:spLocks noGrp="1"/>
          </p:cNvSpPr>
          <p:nvPr>
            <p:ph type="body" idx="1"/>
          </p:nvPr>
        </p:nvSpPr>
        <p:spPr/>
        <p:txBody>
          <a:bodyPr/>
          <a:lstStyle/>
          <a:p>
            <a:r>
              <a:rPr lang="en-US" dirty="0"/>
              <a:t>Advantages of FOSS</a:t>
            </a:r>
          </a:p>
        </p:txBody>
      </p:sp>
      <p:sp>
        <p:nvSpPr>
          <p:cNvPr id="4" name="Date Placeholder 3">
            <a:extLst>
              <a:ext uri="{FF2B5EF4-FFF2-40B4-BE49-F238E27FC236}">
                <a16:creationId xmlns:a16="http://schemas.microsoft.com/office/drawing/2014/main" id="{202B4F57-380B-22A2-E198-74CA4F400B62}"/>
              </a:ext>
            </a:extLst>
          </p:cNvPr>
          <p:cNvSpPr>
            <a:spLocks noGrp="1"/>
          </p:cNvSpPr>
          <p:nvPr>
            <p:ph type="dt" idx="10"/>
          </p:nvPr>
        </p:nvSpPr>
        <p:spPr/>
        <p:txBody>
          <a:bodyPr/>
          <a:lstStyle/>
          <a:p>
            <a:r>
              <a:rPr lang="en-US" dirty="0"/>
              <a:t>Sep 2024</a:t>
            </a:r>
          </a:p>
        </p:txBody>
      </p:sp>
      <p:sp>
        <p:nvSpPr>
          <p:cNvPr id="5" name="Footer Placeholder 4">
            <a:extLst>
              <a:ext uri="{FF2B5EF4-FFF2-40B4-BE49-F238E27FC236}">
                <a16:creationId xmlns:a16="http://schemas.microsoft.com/office/drawing/2014/main" id="{B8E6BEC1-5ABA-F040-38E0-9D883F992CFE}"/>
              </a:ext>
            </a:extLst>
          </p:cNvPr>
          <p:cNvSpPr>
            <a:spLocks noGrp="1"/>
          </p:cNvSpPr>
          <p:nvPr>
            <p:ph type="ftr" idx="11"/>
          </p:nvPr>
        </p:nvSpPr>
        <p:spPr>
          <a:xfrm>
            <a:off x="3696000" y="6489701"/>
            <a:ext cx="4800000" cy="216000"/>
          </a:xfrm>
        </p:spPr>
        <p:txBody>
          <a:bodyPr/>
          <a:lstStyle/>
          <a:p>
            <a:pPr algn="ctr"/>
            <a:r>
              <a:rPr lang="en-US" dirty="0"/>
              <a:t>OSPO</a:t>
            </a:r>
          </a:p>
        </p:txBody>
      </p:sp>
      <p:sp>
        <p:nvSpPr>
          <p:cNvPr id="6" name="Slide Number Placeholder 5">
            <a:extLst>
              <a:ext uri="{FF2B5EF4-FFF2-40B4-BE49-F238E27FC236}">
                <a16:creationId xmlns:a16="http://schemas.microsoft.com/office/drawing/2014/main" id="{EBF78847-B904-8C25-A589-AFF44DB8CD17}"/>
              </a:ext>
            </a:extLst>
          </p:cNvPr>
          <p:cNvSpPr>
            <a:spLocks noGrp="1"/>
          </p:cNvSpPr>
          <p:nvPr>
            <p:ph type="sldNum" idx="12"/>
          </p:nvPr>
        </p:nvSpPr>
        <p:spPr/>
        <p:txBody>
          <a:bodyPr/>
          <a:lstStyle/>
          <a:p>
            <a:fld id="{00000000-1234-1234-1234-123412341234}" type="slidenum">
              <a:rPr lang="en-US" smtClean="0"/>
              <a:pPr/>
              <a:t>8</a:t>
            </a:fld>
            <a:endParaRPr lang="en-US" dirty="0"/>
          </a:p>
        </p:txBody>
      </p:sp>
      <p:grpSp>
        <p:nvGrpSpPr>
          <p:cNvPr id="11" name="Group 10">
            <a:extLst>
              <a:ext uri="{FF2B5EF4-FFF2-40B4-BE49-F238E27FC236}">
                <a16:creationId xmlns:a16="http://schemas.microsoft.com/office/drawing/2014/main" id="{F580C23D-BD64-0891-D56E-272CB267C83E}"/>
              </a:ext>
            </a:extLst>
          </p:cNvPr>
          <p:cNvGrpSpPr/>
          <p:nvPr/>
        </p:nvGrpSpPr>
        <p:grpSpPr>
          <a:xfrm>
            <a:off x="361662" y="1107685"/>
            <a:ext cx="11468677" cy="5116962"/>
            <a:chOff x="314671" y="1138215"/>
            <a:chExt cx="11468677" cy="5116962"/>
          </a:xfrm>
        </p:grpSpPr>
        <p:grpSp>
          <p:nvGrpSpPr>
            <p:cNvPr id="12" name="Group 11">
              <a:extLst>
                <a:ext uri="{FF2B5EF4-FFF2-40B4-BE49-F238E27FC236}">
                  <a16:creationId xmlns:a16="http://schemas.microsoft.com/office/drawing/2014/main" id="{1C671785-855C-2C82-B71B-7D7CBE7E3D15}"/>
                </a:ext>
              </a:extLst>
            </p:cNvPr>
            <p:cNvGrpSpPr/>
            <p:nvPr/>
          </p:nvGrpSpPr>
          <p:grpSpPr>
            <a:xfrm>
              <a:off x="9095896" y="1203007"/>
              <a:ext cx="2687452" cy="5052170"/>
              <a:chOff x="9095896" y="1290893"/>
              <a:chExt cx="2687452" cy="5052170"/>
            </a:xfrm>
          </p:grpSpPr>
          <p:grpSp>
            <p:nvGrpSpPr>
              <p:cNvPr id="57" name="Group 56">
                <a:extLst>
                  <a:ext uri="{FF2B5EF4-FFF2-40B4-BE49-F238E27FC236}">
                    <a16:creationId xmlns:a16="http://schemas.microsoft.com/office/drawing/2014/main" id="{CEAC8817-45A0-3A0C-23C5-B26B41AB4A6F}"/>
                  </a:ext>
                </a:extLst>
              </p:cNvPr>
              <p:cNvGrpSpPr/>
              <p:nvPr/>
            </p:nvGrpSpPr>
            <p:grpSpPr>
              <a:xfrm>
                <a:off x="9095896" y="1290893"/>
                <a:ext cx="2687452" cy="1184940"/>
                <a:chOff x="7692225" y="439953"/>
                <a:chExt cx="2687452" cy="1184940"/>
              </a:xfrm>
            </p:grpSpPr>
            <p:sp>
              <p:nvSpPr>
                <p:cNvPr id="68" name="TextBox 67">
                  <a:extLst>
                    <a:ext uri="{FF2B5EF4-FFF2-40B4-BE49-F238E27FC236}">
                      <a16:creationId xmlns:a16="http://schemas.microsoft.com/office/drawing/2014/main" id="{E4390E30-310D-ADDD-7DDF-3AE61BBE3238}"/>
                    </a:ext>
                  </a:extLst>
                </p:cNvPr>
                <p:cNvSpPr txBox="1"/>
                <p:nvPr/>
              </p:nvSpPr>
              <p:spPr>
                <a:xfrm>
                  <a:off x="8114709" y="439953"/>
                  <a:ext cx="2264968" cy="1184940"/>
                </a:xfrm>
                <a:prstGeom prst="rect">
                  <a:avLst/>
                </a:prstGeom>
                <a:noFill/>
              </p:spPr>
              <p:txBody>
                <a:bodyPr wrap="square" lIns="0" tIns="0" rIns="0" bIns="0" rtlCol="0">
                  <a:spAutoFit/>
                </a:bodyPr>
                <a:lstStyle/>
                <a:p>
                  <a:pPr>
                    <a:spcBef>
                      <a:spcPts val="600"/>
                    </a:spcBef>
                  </a:pPr>
                  <a:r>
                    <a:rPr lang="en-US" b="1" dirty="0"/>
                    <a:t>Cost-Effectiveness</a:t>
                  </a:r>
                </a:p>
                <a:p>
                  <a:pPr>
                    <a:spcBef>
                      <a:spcPts val="600"/>
                    </a:spcBef>
                  </a:pPr>
                  <a:r>
                    <a:rPr lang="en-GB" dirty="0"/>
                    <a:t>Source code is available in free of cost to the end user</a:t>
                  </a:r>
                  <a:endParaRPr lang="en-US" dirty="0"/>
                </a:p>
              </p:txBody>
            </p:sp>
            <p:grpSp>
              <p:nvGrpSpPr>
                <p:cNvPr id="69" name="Group 68">
                  <a:extLst>
                    <a:ext uri="{FF2B5EF4-FFF2-40B4-BE49-F238E27FC236}">
                      <a16:creationId xmlns:a16="http://schemas.microsoft.com/office/drawing/2014/main" id="{BB77E3C6-A12D-DAFE-1698-A31DEDD0AC88}"/>
                    </a:ext>
                  </a:extLst>
                </p:cNvPr>
                <p:cNvGrpSpPr/>
                <p:nvPr/>
              </p:nvGrpSpPr>
              <p:grpSpPr>
                <a:xfrm>
                  <a:off x="7692225" y="458746"/>
                  <a:ext cx="223569" cy="223569"/>
                  <a:chOff x="7531094" y="281354"/>
                  <a:chExt cx="324451" cy="324451"/>
                </a:xfrm>
              </p:grpSpPr>
              <p:sp>
                <p:nvSpPr>
                  <p:cNvPr id="70" name="Oval 69">
                    <a:extLst>
                      <a:ext uri="{FF2B5EF4-FFF2-40B4-BE49-F238E27FC236}">
                        <a16:creationId xmlns:a16="http://schemas.microsoft.com/office/drawing/2014/main" id="{A8909A7E-91DE-5959-658A-47029AF7E080}"/>
                      </a:ext>
                    </a:extLst>
                  </p:cNvPr>
                  <p:cNvSpPr/>
                  <p:nvPr/>
                </p:nvSpPr>
                <p:spPr>
                  <a:xfrm>
                    <a:off x="7531094" y="281354"/>
                    <a:ext cx="324451" cy="324451"/>
                  </a:xfrm>
                  <a:prstGeom prst="ellipse">
                    <a:avLst/>
                  </a:prstGeom>
                  <a:solidFill>
                    <a:schemeClr val="accent1"/>
                  </a:solidFill>
                  <a:ln>
                    <a:noFill/>
                  </a:ln>
                  <a:effectLst>
                    <a:outerShdw blurRad="177800" dist="63500" dir="54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1" name="Isosceles Triangle 70">
                    <a:extLst>
                      <a:ext uri="{FF2B5EF4-FFF2-40B4-BE49-F238E27FC236}">
                        <a16:creationId xmlns:a16="http://schemas.microsoft.com/office/drawing/2014/main" id="{CF4B33AF-E33A-EB87-7632-7DE2C23B1AFB}"/>
                      </a:ext>
                    </a:extLst>
                  </p:cNvPr>
                  <p:cNvSpPr/>
                  <p:nvPr/>
                </p:nvSpPr>
                <p:spPr>
                  <a:xfrm rot="5400000">
                    <a:off x="7652232" y="397211"/>
                    <a:ext cx="107574" cy="9273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58" name="Group 57">
                <a:extLst>
                  <a:ext uri="{FF2B5EF4-FFF2-40B4-BE49-F238E27FC236}">
                    <a16:creationId xmlns:a16="http://schemas.microsoft.com/office/drawing/2014/main" id="{483A8D13-D24E-92EC-B3AC-34FBEEDDB609}"/>
                  </a:ext>
                </a:extLst>
              </p:cNvPr>
              <p:cNvGrpSpPr/>
              <p:nvPr/>
            </p:nvGrpSpPr>
            <p:grpSpPr>
              <a:xfrm>
                <a:off x="9095896" y="3224508"/>
                <a:ext cx="2687452" cy="907941"/>
                <a:chOff x="7692225" y="439953"/>
                <a:chExt cx="2687452" cy="907941"/>
              </a:xfrm>
            </p:grpSpPr>
            <p:sp>
              <p:nvSpPr>
                <p:cNvPr id="64" name="TextBox 63">
                  <a:extLst>
                    <a:ext uri="{FF2B5EF4-FFF2-40B4-BE49-F238E27FC236}">
                      <a16:creationId xmlns:a16="http://schemas.microsoft.com/office/drawing/2014/main" id="{AD987F27-871A-0085-AC24-1F8BBD7898ED}"/>
                    </a:ext>
                  </a:extLst>
                </p:cNvPr>
                <p:cNvSpPr txBox="1"/>
                <p:nvPr/>
              </p:nvSpPr>
              <p:spPr>
                <a:xfrm>
                  <a:off x="8114709" y="439953"/>
                  <a:ext cx="2264968" cy="907941"/>
                </a:xfrm>
                <a:prstGeom prst="rect">
                  <a:avLst/>
                </a:prstGeom>
                <a:noFill/>
              </p:spPr>
              <p:txBody>
                <a:bodyPr wrap="square" lIns="0" tIns="0" rIns="0" bIns="0" rtlCol="0">
                  <a:spAutoFit/>
                </a:bodyPr>
                <a:lstStyle/>
                <a:p>
                  <a:pPr>
                    <a:spcBef>
                      <a:spcPts val="600"/>
                    </a:spcBef>
                  </a:pPr>
                  <a:r>
                    <a:rPr lang="en-US" b="1" dirty="0"/>
                    <a:t>Performance</a:t>
                  </a:r>
                </a:p>
                <a:p>
                  <a:pPr>
                    <a:spcBef>
                      <a:spcPts val="600"/>
                    </a:spcBef>
                  </a:pPr>
                  <a:r>
                    <a:rPr lang="en-GB" dirty="0"/>
                    <a:t>Fewer and Faster bug fixes.</a:t>
                  </a:r>
                  <a:endParaRPr lang="en-US" dirty="0"/>
                </a:p>
              </p:txBody>
            </p:sp>
            <p:grpSp>
              <p:nvGrpSpPr>
                <p:cNvPr id="65" name="Group 64">
                  <a:extLst>
                    <a:ext uri="{FF2B5EF4-FFF2-40B4-BE49-F238E27FC236}">
                      <a16:creationId xmlns:a16="http://schemas.microsoft.com/office/drawing/2014/main" id="{8C32077A-4569-7960-1B1B-DF6124CBC5B5}"/>
                    </a:ext>
                  </a:extLst>
                </p:cNvPr>
                <p:cNvGrpSpPr/>
                <p:nvPr/>
              </p:nvGrpSpPr>
              <p:grpSpPr>
                <a:xfrm>
                  <a:off x="7692225" y="458746"/>
                  <a:ext cx="223569" cy="223569"/>
                  <a:chOff x="7531094" y="281354"/>
                  <a:chExt cx="324451" cy="324451"/>
                </a:xfrm>
              </p:grpSpPr>
              <p:sp>
                <p:nvSpPr>
                  <p:cNvPr id="66" name="Oval 65">
                    <a:extLst>
                      <a:ext uri="{FF2B5EF4-FFF2-40B4-BE49-F238E27FC236}">
                        <a16:creationId xmlns:a16="http://schemas.microsoft.com/office/drawing/2014/main" id="{3584E74B-2AD7-9D4E-38C4-E7A2C7AB78E3}"/>
                      </a:ext>
                    </a:extLst>
                  </p:cNvPr>
                  <p:cNvSpPr/>
                  <p:nvPr/>
                </p:nvSpPr>
                <p:spPr>
                  <a:xfrm>
                    <a:off x="7531094" y="281354"/>
                    <a:ext cx="324451" cy="324451"/>
                  </a:xfrm>
                  <a:prstGeom prst="ellipse">
                    <a:avLst/>
                  </a:prstGeom>
                  <a:solidFill>
                    <a:schemeClr val="accent2"/>
                  </a:solidFill>
                  <a:ln>
                    <a:noFill/>
                  </a:ln>
                  <a:effectLst>
                    <a:outerShdw blurRad="177800" dist="63500" dir="54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7" name="Isosceles Triangle 66">
                    <a:extLst>
                      <a:ext uri="{FF2B5EF4-FFF2-40B4-BE49-F238E27FC236}">
                        <a16:creationId xmlns:a16="http://schemas.microsoft.com/office/drawing/2014/main" id="{6B498FC8-AA8C-7B70-3458-1386CFC68483}"/>
                      </a:ext>
                    </a:extLst>
                  </p:cNvPr>
                  <p:cNvSpPr/>
                  <p:nvPr/>
                </p:nvSpPr>
                <p:spPr>
                  <a:xfrm rot="5400000">
                    <a:off x="7652232" y="397211"/>
                    <a:ext cx="107574" cy="9273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59" name="Group 58">
                <a:extLst>
                  <a:ext uri="{FF2B5EF4-FFF2-40B4-BE49-F238E27FC236}">
                    <a16:creationId xmlns:a16="http://schemas.microsoft.com/office/drawing/2014/main" id="{AC602CA8-81F6-AD1A-556D-57BFB85FDD77}"/>
                  </a:ext>
                </a:extLst>
              </p:cNvPr>
              <p:cNvGrpSpPr/>
              <p:nvPr/>
            </p:nvGrpSpPr>
            <p:grpSpPr>
              <a:xfrm>
                <a:off x="9095896" y="5158123"/>
                <a:ext cx="2687452" cy="1184940"/>
                <a:chOff x="7692225" y="439953"/>
                <a:chExt cx="2687452" cy="1184940"/>
              </a:xfrm>
            </p:grpSpPr>
            <p:sp>
              <p:nvSpPr>
                <p:cNvPr id="60" name="TextBox 59">
                  <a:extLst>
                    <a:ext uri="{FF2B5EF4-FFF2-40B4-BE49-F238E27FC236}">
                      <a16:creationId xmlns:a16="http://schemas.microsoft.com/office/drawing/2014/main" id="{C03F92F3-26EF-4C08-7944-E8860CAA4F4A}"/>
                    </a:ext>
                  </a:extLst>
                </p:cNvPr>
                <p:cNvSpPr txBox="1"/>
                <p:nvPr/>
              </p:nvSpPr>
              <p:spPr>
                <a:xfrm>
                  <a:off x="8114709" y="439953"/>
                  <a:ext cx="2264968" cy="1184940"/>
                </a:xfrm>
                <a:prstGeom prst="rect">
                  <a:avLst/>
                </a:prstGeom>
                <a:noFill/>
              </p:spPr>
              <p:txBody>
                <a:bodyPr wrap="square" lIns="0" tIns="0" rIns="0" bIns="0" rtlCol="0">
                  <a:spAutoFit/>
                </a:bodyPr>
                <a:lstStyle/>
                <a:p>
                  <a:pPr>
                    <a:spcBef>
                      <a:spcPts val="600"/>
                    </a:spcBef>
                  </a:pPr>
                  <a:r>
                    <a:rPr lang="en-US" b="1" dirty="0"/>
                    <a:t>Strong Community</a:t>
                  </a:r>
                </a:p>
                <a:p>
                  <a:pPr>
                    <a:spcBef>
                      <a:spcPts val="600"/>
                    </a:spcBef>
                  </a:pPr>
                  <a:r>
                    <a:rPr lang="en-GB" dirty="0"/>
                    <a:t>Strong Community helps in constant improvement.</a:t>
                  </a:r>
                  <a:endParaRPr lang="en-US" dirty="0"/>
                </a:p>
              </p:txBody>
            </p:sp>
            <p:grpSp>
              <p:nvGrpSpPr>
                <p:cNvPr id="61" name="Group 60">
                  <a:extLst>
                    <a:ext uri="{FF2B5EF4-FFF2-40B4-BE49-F238E27FC236}">
                      <a16:creationId xmlns:a16="http://schemas.microsoft.com/office/drawing/2014/main" id="{2A2EEABC-C0CF-6B20-2F5F-16EBFDA9A545}"/>
                    </a:ext>
                  </a:extLst>
                </p:cNvPr>
                <p:cNvGrpSpPr/>
                <p:nvPr/>
              </p:nvGrpSpPr>
              <p:grpSpPr>
                <a:xfrm>
                  <a:off x="7692225" y="458746"/>
                  <a:ext cx="223569" cy="223569"/>
                  <a:chOff x="7531094" y="281354"/>
                  <a:chExt cx="324451" cy="324451"/>
                </a:xfrm>
              </p:grpSpPr>
              <p:sp>
                <p:nvSpPr>
                  <p:cNvPr id="62" name="Oval 61">
                    <a:extLst>
                      <a:ext uri="{FF2B5EF4-FFF2-40B4-BE49-F238E27FC236}">
                        <a16:creationId xmlns:a16="http://schemas.microsoft.com/office/drawing/2014/main" id="{88973CF8-1E4A-7B27-F83C-88ABC5DDCF98}"/>
                      </a:ext>
                    </a:extLst>
                  </p:cNvPr>
                  <p:cNvSpPr/>
                  <p:nvPr/>
                </p:nvSpPr>
                <p:spPr>
                  <a:xfrm>
                    <a:off x="7531094" y="281354"/>
                    <a:ext cx="324451" cy="324451"/>
                  </a:xfrm>
                  <a:prstGeom prst="ellipse">
                    <a:avLst/>
                  </a:prstGeom>
                  <a:solidFill>
                    <a:schemeClr val="accent3"/>
                  </a:solidFill>
                  <a:ln>
                    <a:noFill/>
                  </a:ln>
                  <a:effectLst>
                    <a:outerShdw blurRad="177800" dist="63500" dir="54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3" name="Isosceles Triangle 62">
                    <a:extLst>
                      <a:ext uri="{FF2B5EF4-FFF2-40B4-BE49-F238E27FC236}">
                        <a16:creationId xmlns:a16="http://schemas.microsoft.com/office/drawing/2014/main" id="{3978D377-40E8-ECF3-3DC4-F559FF61B97B}"/>
                      </a:ext>
                    </a:extLst>
                  </p:cNvPr>
                  <p:cNvSpPr/>
                  <p:nvPr/>
                </p:nvSpPr>
                <p:spPr>
                  <a:xfrm rot="5400000">
                    <a:off x="7652232" y="397211"/>
                    <a:ext cx="107574" cy="9273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nvGrpSpPr>
            <p:cNvPr id="13" name="Group 12">
              <a:extLst>
                <a:ext uri="{FF2B5EF4-FFF2-40B4-BE49-F238E27FC236}">
                  <a16:creationId xmlns:a16="http://schemas.microsoft.com/office/drawing/2014/main" id="{56F5D7EB-AA0A-D2AD-CE97-456CA76E631A}"/>
                </a:ext>
              </a:extLst>
            </p:cNvPr>
            <p:cNvGrpSpPr/>
            <p:nvPr/>
          </p:nvGrpSpPr>
          <p:grpSpPr>
            <a:xfrm flipH="1">
              <a:off x="314671" y="1203007"/>
              <a:ext cx="2687452" cy="5052170"/>
              <a:chOff x="9095896" y="1290893"/>
              <a:chExt cx="2687452" cy="5052170"/>
            </a:xfrm>
          </p:grpSpPr>
          <p:grpSp>
            <p:nvGrpSpPr>
              <p:cNvPr id="42" name="Group 41">
                <a:extLst>
                  <a:ext uri="{FF2B5EF4-FFF2-40B4-BE49-F238E27FC236}">
                    <a16:creationId xmlns:a16="http://schemas.microsoft.com/office/drawing/2014/main" id="{731DB53D-4A22-3162-DC8E-9827255793F1}"/>
                  </a:ext>
                </a:extLst>
              </p:cNvPr>
              <p:cNvGrpSpPr/>
              <p:nvPr/>
            </p:nvGrpSpPr>
            <p:grpSpPr>
              <a:xfrm>
                <a:off x="9095896" y="1290893"/>
                <a:ext cx="2687452" cy="630942"/>
                <a:chOff x="7692225" y="439953"/>
                <a:chExt cx="2687452" cy="630942"/>
              </a:xfrm>
            </p:grpSpPr>
            <p:sp>
              <p:nvSpPr>
                <p:cNvPr id="53" name="TextBox 52">
                  <a:extLst>
                    <a:ext uri="{FF2B5EF4-FFF2-40B4-BE49-F238E27FC236}">
                      <a16:creationId xmlns:a16="http://schemas.microsoft.com/office/drawing/2014/main" id="{023F066F-108F-CF64-B684-E57A209692F7}"/>
                    </a:ext>
                  </a:extLst>
                </p:cNvPr>
                <p:cNvSpPr txBox="1"/>
                <p:nvPr/>
              </p:nvSpPr>
              <p:spPr>
                <a:xfrm>
                  <a:off x="8114709" y="439953"/>
                  <a:ext cx="2264968" cy="630942"/>
                </a:xfrm>
                <a:prstGeom prst="rect">
                  <a:avLst/>
                </a:prstGeom>
                <a:noFill/>
              </p:spPr>
              <p:txBody>
                <a:bodyPr wrap="square" lIns="0" tIns="0" rIns="0" bIns="0" rtlCol="0">
                  <a:spAutoFit/>
                </a:bodyPr>
                <a:lstStyle/>
                <a:p>
                  <a:pPr algn="r">
                    <a:spcBef>
                      <a:spcPts val="600"/>
                    </a:spcBef>
                  </a:pPr>
                  <a:r>
                    <a:rPr lang="en-US" b="1" dirty="0"/>
                    <a:t>Time Savvy</a:t>
                  </a:r>
                </a:p>
                <a:p>
                  <a:pPr algn="r">
                    <a:spcBef>
                      <a:spcPts val="600"/>
                    </a:spcBef>
                  </a:pPr>
                  <a:r>
                    <a:rPr lang="en-GB" dirty="0"/>
                    <a:t>Ready-made available</a:t>
                  </a:r>
                  <a:endParaRPr lang="en-US" dirty="0"/>
                </a:p>
              </p:txBody>
            </p:sp>
            <p:grpSp>
              <p:nvGrpSpPr>
                <p:cNvPr id="54" name="Group 53">
                  <a:extLst>
                    <a:ext uri="{FF2B5EF4-FFF2-40B4-BE49-F238E27FC236}">
                      <a16:creationId xmlns:a16="http://schemas.microsoft.com/office/drawing/2014/main" id="{DB53AD57-6974-6F14-02C0-D39EF9097E85}"/>
                    </a:ext>
                  </a:extLst>
                </p:cNvPr>
                <p:cNvGrpSpPr/>
                <p:nvPr/>
              </p:nvGrpSpPr>
              <p:grpSpPr>
                <a:xfrm>
                  <a:off x="7692225" y="458746"/>
                  <a:ext cx="223569" cy="223569"/>
                  <a:chOff x="7531094" y="281354"/>
                  <a:chExt cx="324451" cy="324451"/>
                </a:xfrm>
              </p:grpSpPr>
              <p:sp>
                <p:nvSpPr>
                  <p:cNvPr id="55" name="Oval 54">
                    <a:extLst>
                      <a:ext uri="{FF2B5EF4-FFF2-40B4-BE49-F238E27FC236}">
                        <a16:creationId xmlns:a16="http://schemas.microsoft.com/office/drawing/2014/main" id="{186B692F-4853-44DF-EAFC-62CAB872E133}"/>
                      </a:ext>
                    </a:extLst>
                  </p:cNvPr>
                  <p:cNvSpPr/>
                  <p:nvPr/>
                </p:nvSpPr>
                <p:spPr>
                  <a:xfrm>
                    <a:off x="7531094" y="281354"/>
                    <a:ext cx="324451" cy="324451"/>
                  </a:xfrm>
                  <a:prstGeom prst="ellipse">
                    <a:avLst/>
                  </a:prstGeom>
                  <a:solidFill>
                    <a:schemeClr val="accent6"/>
                  </a:solidFill>
                  <a:ln>
                    <a:noFill/>
                  </a:ln>
                  <a:effectLst>
                    <a:outerShdw blurRad="177800" dist="63500" dir="54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6" name="Isosceles Triangle 55">
                    <a:extLst>
                      <a:ext uri="{FF2B5EF4-FFF2-40B4-BE49-F238E27FC236}">
                        <a16:creationId xmlns:a16="http://schemas.microsoft.com/office/drawing/2014/main" id="{BC981BCB-C38E-1175-6800-853637F4D2E1}"/>
                      </a:ext>
                    </a:extLst>
                  </p:cNvPr>
                  <p:cNvSpPr/>
                  <p:nvPr/>
                </p:nvSpPr>
                <p:spPr>
                  <a:xfrm rot="5400000">
                    <a:off x="7652232" y="397211"/>
                    <a:ext cx="107574" cy="9273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43" name="Group 42">
                <a:extLst>
                  <a:ext uri="{FF2B5EF4-FFF2-40B4-BE49-F238E27FC236}">
                    <a16:creationId xmlns:a16="http://schemas.microsoft.com/office/drawing/2014/main" id="{D8F813A3-A955-8B85-4910-65F4A2F4A8DE}"/>
                  </a:ext>
                </a:extLst>
              </p:cNvPr>
              <p:cNvGrpSpPr/>
              <p:nvPr/>
            </p:nvGrpSpPr>
            <p:grpSpPr>
              <a:xfrm>
                <a:off x="9095896" y="3224508"/>
                <a:ext cx="2687452" cy="907941"/>
                <a:chOff x="7692225" y="439953"/>
                <a:chExt cx="2687452" cy="907941"/>
              </a:xfrm>
            </p:grpSpPr>
            <p:sp>
              <p:nvSpPr>
                <p:cNvPr id="49" name="TextBox 48">
                  <a:extLst>
                    <a:ext uri="{FF2B5EF4-FFF2-40B4-BE49-F238E27FC236}">
                      <a16:creationId xmlns:a16="http://schemas.microsoft.com/office/drawing/2014/main" id="{AAB52B0B-2E41-DB02-F820-4D1689F0149F}"/>
                    </a:ext>
                  </a:extLst>
                </p:cNvPr>
                <p:cNvSpPr txBox="1"/>
                <p:nvPr/>
              </p:nvSpPr>
              <p:spPr>
                <a:xfrm>
                  <a:off x="8114709" y="439953"/>
                  <a:ext cx="2264968" cy="907941"/>
                </a:xfrm>
                <a:prstGeom prst="rect">
                  <a:avLst/>
                </a:prstGeom>
                <a:noFill/>
              </p:spPr>
              <p:txBody>
                <a:bodyPr wrap="square" lIns="0" tIns="0" rIns="0" bIns="0" rtlCol="0">
                  <a:spAutoFit/>
                </a:bodyPr>
                <a:lstStyle/>
                <a:p>
                  <a:pPr algn="r">
                    <a:spcBef>
                      <a:spcPts val="600"/>
                    </a:spcBef>
                  </a:pPr>
                  <a:r>
                    <a:rPr lang="en-US" b="1" dirty="0"/>
                    <a:t>Open Standards</a:t>
                  </a:r>
                </a:p>
                <a:p>
                  <a:pPr algn="r">
                    <a:spcBef>
                      <a:spcPts val="600"/>
                    </a:spcBef>
                  </a:pPr>
                  <a:r>
                    <a:rPr lang="en-GB" dirty="0"/>
                    <a:t>No restriction on using any standard practices</a:t>
                  </a:r>
                  <a:endParaRPr lang="en-US" dirty="0"/>
                </a:p>
              </p:txBody>
            </p:sp>
            <p:grpSp>
              <p:nvGrpSpPr>
                <p:cNvPr id="50" name="Group 49">
                  <a:extLst>
                    <a:ext uri="{FF2B5EF4-FFF2-40B4-BE49-F238E27FC236}">
                      <a16:creationId xmlns:a16="http://schemas.microsoft.com/office/drawing/2014/main" id="{1BEFF5B8-7138-7C8A-C8CB-2BC260F5BEE8}"/>
                    </a:ext>
                  </a:extLst>
                </p:cNvPr>
                <p:cNvGrpSpPr/>
                <p:nvPr/>
              </p:nvGrpSpPr>
              <p:grpSpPr>
                <a:xfrm>
                  <a:off x="7692225" y="458746"/>
                  <a:ext cx="223569" cy="223569"/>
                  <a:chOff x="7531094" y="281354"/>
                  <a:chExt cx="324451" cy="324451"/>
                </a:xfrm>
              </p:grpSpPr>
              <p:sp>
                <p:nvSpPr>
                  <p:cNvPr id="51" name="Oval 50">
                    <a:extLst>
                      <a:ext uri="{FF2B5EF4-FFF2-40B4-BE49-F238E27FC236}">
                        <a16:creationId xmlns:a16="http://schemas.microsoft.com/office/drawing/2014/main" id="{581F9EA3-24F9-C2B1-92D5-DEB58386175A}"/>
                      </a:ext>
                    </a:extLst>
                  </p:cNvPr>
                  <p:cNvSpPr/>
                  <p:nvPr/>
                </p:nvSpPr>
                <p:spPr>
                  <a:xfrm>
                    <a:off x="7531094" y="281354"/>
                    <a:ext cx="324451" cy="324451"/>
                  </a:xfrm>
                  <a:prstGeom prst="ellipse">
                    <a:avLst/>
                  </a:prstGeom>
                  <a:solidFill>
                    <a:srgbClr val="E54747"/>
                  </a:solidFill>
                  <a:ln>
                    <a:noFill/>
                  </a:ln>
                  <a:effectLst>
                    <a:outerShdw blurRad="177800" dist="63500" dir="54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2" name="Isosceles Triangle 51">
                    <a:extLst>
                      <a:ext uri="{FF2B5EF4-FFF2-40B4-BE49-F238E27FC236}">
                        <a16:creationId xmlns:a16="http://schemas.microsoft.com/office/drawing/2014/main" id="{765375D3-F35F-5339-ED0B-A30771C6BEA9}"/>
                      </a:ext>
                    </a:extLst>
                  </p:cNvPr>
                  <p:cNvSpPr/>
                  <p:nvPr/>
                </p:nvSpPr>
                <p:spPr>
                  <a:xfrm rot="5400000">
                    <a:off x="7652232" y="397211"/>
                    <a:ext cx="107574" cy="9273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44" name="Group 43">
                <a:extLst>
                  <a:ext uri="{FF2B5EF4-FFF2-40B4-BE49-F238E27FC236}">
                    <a16:creationId xmlns:a16="http://schemas.microsoft.com/office/drawing/2014/main" id="{49298733-27D8-FBB6-9D99-194BA3FA147E}"/>
                  </a:ext>
                </a:extLst>
              </p:cNvPr>
              <p:cNvGrpSpPr/>
              <p:nvPr/>
            </p:nvGrpSpPr>
            <p:grpSpPr>
              <a:xfrm>
                <a:off x="9095896" y="5158123"/>
                <a:ext cx="2687452" cy="1184940"/>
                <a:chOff x="7692225" y="439953"/>
                <a:chExt cx="2687452" cy="1184940"/>
              </a:xfrm>
            </p:grpSpPr>
            <p:sp>
              <p:nvSpPr>
                <p:cNvPr id="45" name="TextBox 44">
                  <a:extLst>
                    <a:ext uri="{FF2B5EF4-FFF2-40B4-BE49-F238E27FC236}">
                      <a16:creationId xmlns:a16="http://schemas.microsoft.com/office/drawing/2014/main" id="{AF827E45-BCDA-4E8D-4601-22B774CC9E9C}"/>
                    </a:ext>
                  </a:extLst>
                </p:cNvPr>
                <p:cNvSpPr txBox="1"/>
                <p:nvPr/>
              </p:nvSpPr>
              <p:spPr>
                <a:xfrm>
                  <a:off x="8114709" y="439953"/>
                  <a:ext cx="2264968" cy="1184940"/>
                </a:xfrm>
                <a:prstGeom prst="rect">
                  <a:avLst/>
                </a:prstGeom>
                <a:noFill/>
              </p:spPr>
              <p:txBody>
                <a:bodyPr wrap="square" lIns="0" tIns="0" rIns="0" bIns="0" rtlCol="0">
                  <a:spAutoFit/>
                </a:bodyPr>
                <a:lstStyle/>
                <a:p>
                  <a:pPr algn="r">
                    <a:spcBef>
                      <a:spcPts val="600"/>
                    </a:spcBef>
                  </a:pPr>
                  <a:r>
                    <a:rPr lang="en-US" b="1" dirty="0"/>
                    <a:t>Flexibility</a:t>
                  </a:r>
                </a:p>
                <a:p>
                  <a:pPr algn="r">
                    <a:spcBef>
                      <a:spcPts val="600"/>
                    </a:spcBef>
                  </a:pPr>
                  <a:r>
                    <a:rPr lang="en-GB" dirty="0"/>
                    <a:t>Flexibility to use, copy, modify, merge, publish, distribute, etc</a:t>
                  </a:r>
                  <a:endParaRPr lang="en-US" dirty="0"/>
                </a:p>
              </p:txBody>
            </p:sp>
            <p:grpSp>
              <p:nvGrpSpPr>
                <p:cNvPr id="46" name="Group 45">
                  <a:extLst>
                    <a:ext uri="{FF2B5EF4-FFF2-40B4-BE49-F238E27FC236}">
                      <a16:creationId xmlns:a16="http://schemas.microsoft.com/office/drawing/2014/main" id="{59B39776-7A97-CF1E-DF7B-DA0804DD3C72}"/>
                    </a:ext>
                  </a:extLst>
                </p:cNvPr>
                <p:cNvGrpSpPr/>
                <p:nvPr/>
              </p:nvGrpSpPr>
              <p:grpSpPr>
                <a:xfrm>
                  <a:off x="7692225" y="458746"/>
                  <a:ext cx="223569" cy="223569"/>
                  <a:chOff x="7531094" y="281354"/>
                  <a:chExt cx="324451" cy="324451"/>
                </a:xfrm>
              </p:grpSpPr>
              <p:sp>
                <p:nvSpPr>
                  <p:cNvPr id="47" name="Oval 46">
                    <a:extLst>
                      <a:ext uri="{FF2B5EF4-FFF2-40B4-BE49-F238E27FC236}">
                        <a16:creationId xmlns:a16="http://schemas.microsoft.com/office/drawing/2014/main" id="{B34631ED-B422-9F8A-1444-B8F4F85357F8}"/>
                      </a:ext>
                    </a:extLst>
                  </p:cNvPr>
                  <p:cNvSpPr/>
                  <p:nvPr/>
                </p:nvSpPr>
                <p:spPr>
                  <a:xfrm>
                    <a:off x="7531094" y="281354"/>
                    <a:ext cx="324451" cy="324451"/>
                  </a:xfrm>
                  <a:prstGeom prst="ellipse">
                    <a:avLst/>
                  </a:prstGeom>
                  <a:solidFill>
                    <a:schemeClr val="accent4"/>
                  </a:solidFill>
                  <a:ln>
                    <a:noFill/>
                  </a:ln>
                  <a:effectLst>
                    <a:outerShdw blurRad="177800" dist="63500" dir="5400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8" name="Isosceles Triangle 47">
                    <a:extLst>
                      <a:ext uri="{FF2B5EF4-FFF2-40B4-BE49-F238E27FC236}">
                        <a16:creationId xmlns:a16="http://schemas.microsoft.com/office/drawing/2014/main" id="{AC804E5C-746D-99E2-2CF9-BB7115C7D8B9}"/>
                      </a:ext>
                    </a:extLst>
                  </p:cNvPr>
                  <p:cNvSpPr/>
                  <p:nvPr/>
                </p:nvSpPr>
                <p:spPr>
                  <a:xfrm rot="5400000">
                    <a:off x="7652232" y="397211"/>
                    <a:ext cx="107574" cy="9273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nvGrpSpPr>
            <p:cNvPr id="14" name="Group 13">
              <a:extLst>
                <a:ext uri="{FF2B5EF4-FFF2-40B4-BE49-F238E27FC236}">
                  <a16:creationId xmlns:a16="http://schemas.microsoft.com/office/drawing/2014/main" id="{DA0B953C-0DD5-7397-3910-D7CB61A8860D}"/>
                </a:ext>
              </a:extLst>
            </p:cNvPr>
            <p:cNvGrpSpPr/>
            <p:nvPr/>
          </p:nvGrpSpPr>
          <p:grpSpPr>
            <a:xfrm>
              <a:off x="3913445" y="1138215"/>
              <a:ext cx="4271128" cy="4627756"/>
              <a:chOff x="3960436" y="1115122"/>
              <a:chExt cx="4271128" cy="4627756"/>
            </a:xfrm>
          </p:grpSpPr>
          <p:grpSp>
            <p:nvGrpSpPr>
              <p:cNvPr id="15" name="Group 14">
                <a:extLst>
                  <a:ext uri="{FF2B5EF4-FFF2-40B4-BE49-F238E27FC236}">
                    <a16:creationId xmlns:a16="http://schemas.microsoft.com/office/drawing/2014/main" id="{F8C4C843-77D6-D33C-BD6B-611044323759}"/>
                  </a:ext>
                </a:extLst>
              </p:cNvPr>
              <p:cNvGrpSpPr/>
              <p:nvPr/>
            </p:nvGrpSpPr>
            <p:grpSpPr>
              <a:xfrm>
                <a:off x="3960436" y="1115122"/>
                <a:ext cx="4271128" cy="4627756"/>
                <a:chOff x="3425072" y="535850"/>
                <a:chExt cx="5341857" cy="5787888"/>
              </a:xfrm>
            </p:grpSpPr>
            <p:sp>
              <p:nvSpPr>
                <p:cNvPr id="23" name="Freeform 23">
                  <a:extLst>
                    <a:ext uri="{FF2B5EF4-FFF2-40B4-BE49-F238E27FC236}">
                      <a16:creationId xmlns:a16="http://schemas.microsoft.com/office/drawing/2014/main" id="{6069624C-6F08-54B2-B621-2697DCD3273D}"/>
                    </a:ext>
                  </a:extLst>
                </p:cNvPr>
                <p:cNvSpPr>
                  <a:spLocks/>
                </p:cNvSpPr>
                <p:nvPr/>
              </p:nvSpPr>
              <p:spPr bwMode="auto">
                <a:xfrm>
                  <a:off x="4710365" y="535850"/>
                  <a:ext cx="2771270" cy="2458664"/>
                </a:xfrm>
                <a:custGeom>
                  <a:avLst/>
                  <a:gdLst>
                    <a:gd name="connsiteX0" fmla="*/ 1214790 w 2430744"/>
                    <a:gd name="connsiteY0" fmla="*/ 0 h 2156551"/>
                    <a:gd name="connsiteX1" fmla="*/ 2424716 w 2430744"/>
                    <a:gd name="connsiteY1" fmla="*/ 306365 h 2156551"/>
                    <a:gd name="connsiteX2" fmla="*/ 2430744 w 2430744"/>
                    <a:gd name="connsiteY2" fmla="*/ 310027 h 2156551"/>
                    <a:gd name="connsiteX3" fmla="*/ 1977342 w 2430744"/>
                    <a:gd name="connsiteY3" fmla="*/ 1094831 h 2156551"/>
                    <a:gd name="connsiteX4" fmla="*/ 1974832 w 2430744"/>
                    <a:gd name="connsiteY4" fmla="*/ 1094831 h 2156551"/>
                    <a:gd name="connsiteX5" fmla="*/ 1482028 w 2430744"/>
                    <a:gd name="connsiteY5" fmla="*/ 1508851 h 2156551"/>
                    <a:gd name="connsiteX6" fmla="*/ 1482072 w 2430744"/>
                    <a:gd name="connsiteY6" fmla="*/ 1508851 h 2156551"/>
                    <a:gd name="connsiteX7" fmla="*/ 1482072 w 2430744"/>
                    <a:gd name="connsiteY7" fmla="*/ 2156551 h 2156551"/>
                    <a:gd name="connsiteX8" fmla="*/ 948672 w 2430744"/>
                    <a:gd name="connsiteY8" fmla="*/ 2156551 h 2156551"/>
                    <a:gd name="connsiteX9" fmla="*/ 948672 w 2430744"/>
                    <a:gd name="connsiteY9" fmla="*/ 1508851 h 2156551"/>
                    <a:gd name="connsiteX10" fmla="*/ 946176 w 2430744"/>
                    <a:gd name="connsiteY10" fmla="*/ 1508851 h 2156551"/>
                    <a:gd name="connsiteX11" fmla="*/ 453372 w 2430744"/>
                    <a:gd name="connsiteY11" fmla="*/ 1094831 h 2156551"/>
                    <a:gd name="connsiteX12" fmla="*/ 452830 w 2430744"/>
                    <a:gd name="connsiteY12" fmla="*/ 1094831 h 2156551"/>
                    <a:gd name="connsiteX13" fmla="*/ 0 w 2430744"/>
                    <a:gd name="connsiteY13" fmla="*/ 309320 h 2156551"/>
                    <a:gd name="connsiteX14" fmla="*/ 4864 w 2430744"/>
                    <a:gd name="connsiteY14" fmla="*/ 306365 h 2156551"/>
                    <a:gd name="connsiteX15" fmla="*/ 1214790 w 2430744"/>
                    <a:gd name="connsiteY15" fmla="*/ 0 h 21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30744" h="2156551">
                      <a:moveTo>
                        <a:pt x="1214790" y="0"/>
                      </a:moveTo>
                      <a:cubicBezTo>
                        <a:pt x="1652881" y="0"/>
                        <a:pt x="2065050" y="110982"/>
                        <a:pt x="2424716" y="306365"/>
                      </a:cubicBezTo>
                      <a:lnTo>
                        <a:pt x="2430744" y="310027"/>
                      </a:lnTo>
                      <a:lnTo>
                        <a:pt x="1977342" y="1094831"/>
                      </a:lnTo>
                      <a:lnTo>
                        <a:pt x="1974832" y="1094831"/>
                      </a:lnTo>
                      <a:lnTo>
                        <a:pt x="1482028" y="1508851"/>
                      </a:lnTo>
                      <a:lnTo>
                        <a:pt x="1482072" y="1508851"/>
                      </a:lnTo>
                      <a:lnTo>
                        <a:pt x="1482072" y="2156551"/>
                      </a:lnTo>
                      <a:lnTo>
                        <a:pt x="948672" y="2156551"/>
                      </a:lnTo>
                      <a:lnTo>
                        <a:pt x="948672" y="1508851"/>
                      </a:lnTo>
                      <a:lnTo>
                        <a:pt x="946176" y="1508851"/>
                      </a:lnTo>
                      <a:lnTo>
                        <a:pt x="453372" y="1094831"/>
                      </a:lnTo>
                      <a:lnTo>
                        <a:pt x="452830" y="1094831"/>
                      </a:lnTo>
                      <a:lnTo>
                        <a:pt x="0" y="309320"/>
                      </a:lnTo>
                      <a:lnTo>
                        <a:pt x="4864" y="306365"/>
                      </a:lnTo>
                      <a:cubicBezTo>
                        <a:pt x="364531" y="110982"/>
                        <a:pt x="776700" y="0"/>
                        <a:pt x="1214790"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4" name="Rectangle 23">
                  <a:extLst>
                    <a:ext uri="{FF2B5EF4-FFF2-40B4-BE49-F238E27FC236}">
                      <a16:creationId xmlns:a16="http://schemas.microsoft.com/office/drawing/2014/main" id="{B92E4E05-BD77-D0B3-895C-8E9332836D75}"/>
                    </a:ext>
                  </a:extLst>
                </p:cNvPr>
                <p:cNvSpPr/>
                <p:nvPr/>
              </p:nvSpPr>
              <p:spPr>
                <a:xfrm>
                  <a:off x="5791938" y="2256077"/>
                  <a:ext cx="608125" cy="738437"/>
                </a:xfrm>
                <a:prstGeom prst="rect">
                  <a:avLst/>
                </a:prstGeom>
                <a:solidFill>
                  <a:schemeClr val="tx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rapezoid 24">
                  <a:extLst>
                    <a:ext uri="{FF2B5EF4-FFF2-40B4-BE49-F238E27FC236}">
                      <a16:creationId xmlns:a16="http://schemas.microsoft.com/office/drawing/2014/main" id="{BF2C603C-BDAB-279C-CFEB-E49C4F2138A4}"/>
                    </a:ext>
                  </a:extLst>
                </p:cNvPr>
                <p:cNvSpPr/>
                <p:nvPr/>
              </p:nvSpPr>
              <p:spPr>
                <a:xfrm rot="10800000">
                  <a:off x="5227251" y="1784057"/>
                  <a:ext cx="1734603" cy="472020"/>
                </a:xfrm>
                <a:prstGeom prst="trapezoid">
                  <a:avLst>
                    <a:gd name="adj" fmla="val 119029"/>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Freeform 29">
                  <a:extLst>
                    <a:ext uri="{FF2B5EF4-FFF2-40B4-BE49-F238E27FC236}">
                      <a16:creationId xmlns:a16="http://schemas.microsoft.com/office/drawing/2014/main" id="{09B5D58A-19F3-C725-D70E-6AEAE53F9CE0}"/>
                    </a:ext>
                  </a:extLst>
                </p:cNvPr>
                <p:cNvSpPr>
                  <a:spLocks/>
                </p:cNvSpPr>
                <p:nvPr/>
              </p:nvSpPr>
              <p:spPr bwMode="auto">
                <a:xfrm rot="18000000">
                  <a:off x="3268770" y="1368156"/>
                  <a:ext cx="2771269" cy="2458665"/>
                </a:xfrm>
                <a:custGeom>
                  <a:avLst/>
                  <a:gdLst>
                    <a:gd name="connsiteX0" fmla="*/ 1214790 w 2430744"/>
                    <a:gd name="connsiteY0" fmla="*/ 0 h 2156551"/>
                    <a:gd name="connsiteX1" fmla="*/ 2424716 w 2430744"/>
                    <a:gd name="connsiteY1" fmla="*/ 306365 h 2156551"/>
                    <a:gd name="connsiteX2" fmla="*/ 2430744 w 2430744"/>
                    <a:gd name="connsiteY2" fmla="*/ 310027 h 2156551"/>
                    <a:gd name="connsiteX3" fmla="*/ 1977342 w 2430744"/>
                    <a:gd name="connsiteY3" fmla="*/ 1094831 h 2156551"/>
                    <a:gd name="connsiteX4" fmla="*/ 1974832 w 2430744"/>
                    <a:gd name="connsiteY4" fmla="*/ 1094831 h 2156551"/>
                    <a:gd name="connsiteX5" fmla="*/ 1482028 w 2430744"/>
                    <a:gd name="connsiteY5" fmla="*/ 1508851 h 2156551"/>
                    <a:gd name="connsiteX6" fmla="*/ 1482072 w 2430744"/>
                    <a:gd name="connsiteY6" fmla="*/ 1508851 h 2156551"/>
                    <a:gd name="connsiteX7" fmla="*/ 1482072 w 2430744"/>
                    <a:gd name="connsiteY7" fmla="*/ 2156551 h 2156551"/>
                    <a:gd name="connsiteX8" fmla="*/ 948672 w 2430744"/>
                    <a:gd name="connsiteY8" fmla="*/ 2156551 h 2156551"/>
                    <a:gd name="connsiteX9" fmla="*/ 948672 w 2430744"/>
                    <a:gd name="connsiteY9" fmla="*/ 1508851 h 2156551"/>
                    <a:gd name="connsiteX10" fmla="*/ 946176 w 2430744"/>
                    <a:gd name="connsiteY10" fmla="*/ 1508851 h 2156551"/>
                    <a:gd name="connsiteX11" fmla="*/ 453372 w 2430744"/>
                    <a:gd name="connsiteY11" fmla="*/ 1094831 h 2156551"/>
                    <a:gd name="connsiteX12" fmla="*/ 452830 w 2430744"/>
                    <a:gd name="connsiteY12" fmla="*/ 1094831 h 2156551"/>
                    <a:gd name="connsiteX13" fmla="*/ 0 w 2430744"/>
                    <a:gd name="connsiteY13" fmla="*/ 309320 h 2156551"/>
                    <a:gd name="connsiteX14" fmla="*/ 4864 w 2430744"/>
                    <a:gd name="connsiteY14" fmla="*/ 306365 h 2156551"/>
                    <a:gd name="connsiteX15" fmla="*/ 1214790 w 2430744"/>
                    <a:gd name="connsiteY15" fmla="*/ 0 h 21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30744" h="2156551">
                      <a:moveTo>
                        <a:pt x="1214790" y="0"/>
                      </a:moveTo>
                      <a:cubicBezTo>
                        <a:pt x="1652881" y="0"/>
                        <a:pt x="2065050" y="110982"/>
                        <a:pt x="2424716" y="306365"/>
                      </a:cubicBezTo>
                      <a:lnTo>
                        <a:pt x="2430744" y="310027"/>
                      </a:lnTo>
                      <a:lnTo>
                        <a:pt x="1977342" y="1094831"/>
                      </a:lnTo>
                      <a:lnTo>
                        <a:pt x="1974832" y="1094831"/>
                      </a:lnTo>
                      <a:lnTo>
                        <a:pt x="1482028" y="1508851"/>
                      </a:lnTo>
                      <a:lnTo>
                        <a:pt x="1482072" y="1508851"/>
                      </a:lnTo>
                      <a:lnTo>
                        <a:pt x="1482072" y="2156551"/>
                      </a:lnTo>
                      <a:lnTo>
                        <a:pt x="948672" y="2156551"/>
                      </a:lnTo>
                      <a:lnTo>
                        <a:pt x="948672" y="1508851"/>
                      </a:lnTo>
                      <a:lnTo>
                        <a:pt x="946176" y="1508851"/>
                      </a:lnTo>
                      <a:lnTo>
                        <a:pt x="453372" y="1094831"/>
                      </a:lnTo>
                      <a:lnTo>
                        <a:pt x="452830" y="1094831"/>
                      </a:lnTo>
                      <a:lnTo>
                        <a:pt x="0" y="309320"/>
                      </a:lnTo>
                      <a:lnTo>
                        <a:pt x="4864" y="306365"/>
                      </a:lnTo>
                      <a:cubicBezTo>
                        <a:pt x="364531" y="110982"/>
                        <a:pt x="776700" y="0"/>
                        <a:pt x="1214790" y="0"/>
                      </a:cubicBezTo>
                      <a:close/>
                    </a:path>
                  </a:pathLst>
                </a:custGeom>
                <a:solidFill>
                  <a:schemeClr val="accent6"/>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7" name="Rectangle 26">
                  <a:extLst>
                    <a:ext uri="{FF2B5EF4-FFF2-40B4-BE49-F238E27FC236}">
                      <a16:creationId xmlns:a16="http://schemas.microsoft.com/office/drawing/2014/main" id="{01754B7D-EDB6-B155-42A8-4290AB7AF869}"/>
                    </a:ext>
                  </a:extLst>
                </p:cNvPr>
                <p:cNvSpPr/>
                <p:nvPr/>
              </p:nvSpPr>
              <p:spPr>
                <a:xfrm rot="18000000">
                  <a:off x="5095223" y="2658326"/>
                  <a:ext cx="608124" cy="738437"/>
                </a:xfrm>
                <a:prstGeom prst="rect">
                  <a:avLst/>
                </a:prstGeom>
                <a:solidFill>
                  <a:schemeClr val="tx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rapezoid 27">
                  <a:extLst>
                    <a:ext uri="{FF2B5EF4-FFF2-40B4-BE49-F238E27FC236}">
                      <a16:creationId xmlns:a16="http://schemas.microsoft.com/office/drawing/2014/main" id="{738C2210-9B56-72B0-6FBA-D4F2BA7BE3F2}"/>
                    </a:ext>
                  </a:extLst>
                </p:cNvPr>
                <p:cNvSpPr/>
                <p:nvPr/>
              </p:nvSpPr>
              <p:spPr>
                <a:xfrm rot="7200000">
                  <a:off x="4007115" y="2490174"/>
                  <a:ext cx="1734603" cy="472021"/>
                </a:xfrm>
                <a:prstGeom prst="trapezoid">
                  <a:avLst>
                    <a:gd name="adj" fmla="val 119029"/>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34">
                  <a:extLst>
                    <a:ext uri="{FF2B5EF4-FFF2-40B4-BE49-F238E27FC236}">
                      <a16:creationId xmlns:a16="http://schemas.microsoft.com/office/drawing/2014/main" id="{952527F4-8470-5177-B33F-8A97E4332AA2}"/>
                    </a:ext>
                  </a:extLst>
                </p:cNvPr>
                <p:cNvSpPr>
                  <a:spLocks/>
                </p:cNvSpPr>
                <p:nvPr/>
              </p:nvSpPr>
              <p:spPr bwMode="auto">
                <a:xfrm rot="14400000">
                  <a:off x="3268770" y="3032767"/>
                  <a:ext cx="2771269" cy="2458665"/>
                </a:xfrm>
                <a:custGeom>
                  <a:avLst/>
                  <a:gdLst>
                    <a:gd name="connsiteX0" fmla="*/ 1214790 w 2430744"/>
                    <a:gd name="connsiteY0" fmla="*/ 0 h 2156551"/>
                    <a:gd name="connsiteX1" fmla="*/ 2424716 w 2430744"/>
                    <a:gd name="connsiteY1" fmla="*/ 306365 h 2156551"/>
                    <a:gd name="connsiteX2" fmla="*/ 2430744 w 2430744"/>
                    <a:gd name="connsiteY2" fmla="*/ 310027 h 2156551"/>
                    <a:gd name="connsiteX3" fmla="*/ 1977342 w 2430744"/>
                    <a:gd name="connsiteY3" fmla="*/ 1094831 h 2156551"/>
                    <a:gd name="connsiteX4" fmla="*/ 1974832 w 2430744"/>
                    <a:gd name="connsiteY4" fmla="*/ 1094831 h 2156551"/>
                    <a:gd name="connsiteX5" fmla="*/ 1482028 w 2430744"/>
                    <a:gd name="connsiteY5" fmla="*/ 1508851 h 2156551"/>
                    <a:gd name="connsiteX6" fmla="*/ 1482072 w 2430744"/>
                    <a:gd name="connsiteY6" fmla="*/ 1508851 h 2156551"/>
                    <a:gd name="connsiteX7" fmla="*/ 1482072 w 2430744"/>
                    <a:gd name="connsiteY7" fmla="*/ 2156551 h 2156551"/>
                    <a:gd name="connsiteX8" fmla="*/ 948672 w 2430744"/>
                    <a:gd name="connsiteY8" fmla="*/ 2156551 h 2156551"/>
                    <a:gd name="connsiteX9" fmla="*/ 948672 w 2430744"/>
                    <a:gd name="connsiteY9" fmla="*/ 1508851 h 2156551"/>
                    <a:gd name="connsiteX10" fmla="*/ 946176 w 2430744"/>
                    <a:gd name="connsiteY10" fmla="*/ 1508851 h 2156551"/>
                    <a:gd name="connsiteX11" fmla="*/ 453372 w 2430744"/>
                    <a:gd name="connsiteY11" fmla="*/ 1094831 h 2156551"/>
                    <a:gd name="connsiteX12" fmla="*/ 452830 w 2430744"/>
                    <a:gd name="connsiteY12" fmla="*/ 1094831 h 2156551"/>
                    <a:gd name="connsiteX13" fmla="*/ 0 w 2430744"/>
                    <a:gd name="connsiteY13" fmla="*/ 309320 h 2156551"/>
                    <a:gd name="connsiteX14" fmla="*/ 4864 w 2430744"/>
                    <a:gd name="connsiteY14" fmla="*/ 306365 h 2156551"/>
                    <a:gd name="connsiteX15" fmla="*/ 1214790 w 2430744"/>
                    <a:gd name="connsiteY15" fmla="*/ 0 h 21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30744" h="2156551">
                      <a:moveTo>
                        <a:pt x="1214790" y="0"/>
                      </a:moveTo>
                      <a:cubicBezTo>
                        <a:pt x="1652881" y="0"/>
                        <a:pt x="2065050" y="110982"/>
                        <a:pt x="2424716" y="306365"/>
                      </a:cubicBezTo>
                      <a:lnTo>
                        <a:pt x="2430744" y="310027"/>
                      </a:lnTo>
                      <a:lnTo>
                        <a:pt x="1977342" y="1094831"/>
                      </a:lnTo>
                      <a:lnTo>
                        <a:pt x="1974832" y="1094831"/>
                      </a:lnTo>
                      <a:lnTo>
                        <a:pt x="1482028" y="1508851"/>
                      </a:lnTo>
                      <a:lnTo>
                        <a:pt x="1482072" y="1508851"/>
                      </a:lnTo>
                      <a:lnTo>
                        <a:pt x="1482072" y="2156551"/>
                      </a:lnTo>
                      <a:lnTo>
                        <a:pt x="948672" y="2156551"/>
                      </a:lnTo>
                      <a:lnTo>
                        <a:pt x="948672" y="1508851"/>
                      </a:lnTo>
                      <a:lnTo>
                        <a:pt x="946176" y="1508851"/>
                      </a:lnTo>
                      <a:lnTo>
                        <a:pt x="453372" y="1094831"/>
                      </a:lnTo>
                      <a:lnTo>
                        <a:pt x="452830" y="1094831"/>
                      </a:lnTo>
                      <a:lnTo>
                        <a:pt x="0" y="309320"/>
                      </a:lnTo>
                      <a:lnTo>
                        <a:pt x="4864" y="306365"/>
                      </a:lnTo>
                      <a:cubicBezTo>
                        <a:pt x="364531" y="110982"/>
                        <a:pt x="776700" y="0"/>
                        <a:pt x="1214790" y="0"/>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0" name="Rectangle 29">
                  <a:extLst>
                    <a:ext uri="{FF2B5EF4-FFF2-40B4-BE49-F238E27FC236}">
                      <a16:creationId xmlns:a16="http://schemas.microsoft.com/office/drawing/2014/main" id="{7BD565EC-D9C7-98CF-7361-C90554AB86B6}"/>
                    </a:ext>
                  </a:extLst>
                </p:cNvPr>
                <p:cNvSpPr/>
                <p:nvPr/>
              </p:nvSpPr>
              <p:spPr>
                <a:xfrm rot="14400000">
                  <a:off x="5095223" y="3462825"/>
                  <a:ext cx="608124" cy="738437"/>
                </a:xfrm>
                <a:prstGeom prst="rect">
                  <a:avLst/>
                </a:prstGeom>
                <a:solidFill>
                  <a:schemeClr val="tx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rapezoid 30">
                  <a:extLst>
                    <a:ext uri="{FF2B5EF4-FFF2-40B4-BE49-F238E27FC236}">
                      <a16:creationId xmlns:a16="http://schemas.microsoft.com/office/drawing/2014/main" id="{F7458FE7-634C-9C04-5C58-211EDDBD4066}"/>
                    </a:ext>
                  </a:extLst>
                </p:cNvPr>
                <p:cNvSpPr/>
                <p:nvPr/>
              </p:nvSpPr>
              <p:spPr>
                <a:xfrm rot="3600000">
                  <a:off x="4008563" y="3899901"/>
                  <a:ext cx="1734603" cy="472021"/>
                </a:xfrm>
                <a:prstGeom prst="trapezoid">
                  <a:avLst>
                    <a:gd name="adj" fmla="val 119029"/>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9">
                  <a:extLst>
                    <a:ext uri="{FF2B5EF4-FFF2-40B4-BE49-F238E27FC236}">
                      <a16:creationId xmlns:a16="http://schemas.microsoft.com/office/drawing/2014/main" id="{35C66050-8D28-A062-3EEE-4777E6D03774}"/>
                    </a:ext>
                  </a:extLst>
                </p:cNvPr>
                <p:cNvSpPr>
                  <a:spLocks/>
                </p:cNvSpPr>
                <p:nvPr/>
              </p:nvSpPr>
              <p:spPr bwMode="auto">
                <a:xfrm rot="10800000">
                  <a:off x="4710365" y="3865074"/>
                  <a:ext cx="2771270" cy="2458664"/>
                </a:xfrm>
                <a:custGeom>
                  <a:avLst/>
                  <a:gdLst>
                    <a:gd name="connsiteX0" fmla="*/ 1214790 w 2430744"/>
                    <a:gd name="connsiteY0" fmla="*/ 0 h 2156551"/>
                    <a:gd name="connsiteX1" fmla="*/ 2424716 w 2430744"/>
                    <a:gd name="connsiteY1" fmla="*/ 306365 h 2156551"/>
                    <a:gd name="connsiteX2" fmla="*/ 2430744 w 2430744"/>
                    <a:gd name="connsiteY2" fmla="*/ 310027 h 2156551"/>
                    <a:gd name="connsiteX3" fmla="*/ 1977342 w 2430744"/>
                    <a:gd name="connsiteY3" fmla="*/ 1094831 h 2156551"/>
                    <a:gd name="connsiteX4" fmla="*/ 1974832 w 2430744"/>
                    <a:gd name="connsiteY4" fmla="*/ 1094831 h 2156551"/>
                    <a:gd name="connsiteX5" fmla="*/ 1482028 w 2430744"/>
                    <a:gd name="connsiteY5" fmla="*/ 1508851 h 2156551"/>
                    <a:gd name="connsiteX6" fmla="*/ 1482072 w 2430744"/>
                    <a:gd name="connsiteY6" fmla="*/ 1508851 h 2156551"/>
                    <a:gd name="connsiteX7" fmla="*/ 1482072 w 2430744"/>
                    <a:gd name="connsiteY7" fmla="*/ 2156551 h 2156551"/>
                    <a:gd name="connsiteX8" fmla="*/ 948672 w 2430744"/>
                    <a:gd name="connsiteY8" fmla="*/ 2156551 h 2156551"/>
                    <a:gd name="connsiteX9" fmla="*/ 948672 w 2430744"/>
                    <a:gd name="connsiteY9" fmla="*/ 1508851 h 2156551"/>
                    <a:gd name="connsiteX10" fmla="*/ 946176 w 2430744"/>
                    <a:gd name="connsiteY10" fmla="*/ 1508851 h 2156551"/>
                    <a:gd name="connsiteX11" fmla="*/ 453372 w 2430744"/>
                    <a:gd name="connsiteY11" fmla="*/ 1094831 h 2156551"/>
                    <a:gd name="connsiteX12" fmla="*/ 452830 w 2430744"/>
                    <a:gd name="connsiteY12" fmla="*/ 1094831 h 2156551"/>
                    <a:gd name="connsiteX13" fmla="*/ 0 w 2430744"/>
                    <a:gd name="connsiteY13" fmla="*/ 309320 h 2156551"/>
                    <a:gd name="connsiteX14" fmla="*/ 4864 w 2430744"/>
                    <a:gd name="connsiteY14" fmla="*/ 306365 h 2156551"/>
                    <a:gd name="connsiteX15" fmla="*/ 1214790 w 2430744"/>
                    <a:gd name="connsiteY15" fmla="*/ 0 h 21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30744" h="2156551">
                      <a:moveTo>
                        <a:pt x="1214790" y="0"/>
                      </a:moveTo>
                      <a:cubicBezTo>
                        <a:pt x="1652881" y="0"/>
                        <a:pt x="2065050" y="110982"/>
                        <a:pt x="2424716" y="306365"/>
                      </a:cubicBezTo>
                      <a:lnTo>
                        <a:pt x="2430744" y="310027"/>
                      </a:lnTo>
                      <a:lnTo>
                        <a:pt x="1977342" y="1094831"/>
                      </a:lnTo>
                      <a:lnTo>
                        <a:pt x="1974832" y="1094831"/>
                      </a:lnTo>
                      <a:lnTo>
                        <a:pt x="1482028" y="1508851"/>
                      </a:lnTo>
                      <a:lnTo>
                        <a:pt x="1482072" y="1508851"/>
                      </a:lnTo>
                      <a:lnTo>
                        <a:pt x="1482072" y="2156551"/>
                      </a:lnTo>
                      <a:lnTo>
                        <a:pt x="948672" y="2156551"/>
                      </a:lnTo>
                      <a:lnTo>
                        <a:pt x="948672" y="1508851"/>
                      </a:lnTo>
                      <a:lnTo>
                        <a:pt x="946176" y="1508851"/>
                      </a:lnTo>
                      <a:lnTo>
                        <a:pt x="453372" y="1094831"/>
                      </a:lnTo>
                      <a:lnTo>
                        <a:pt x="452830" y="1094831"/>
                      </a:lnTo>
                      <a:lnTo>
                        <a:pt x="0" y="309320"/>
                      </a:lnTo>
                      <a:lnTo>
                        <a:pt x="4864" y="306365"/>
                      </a:lnTo>
                      <a:cubicBezTo>
                        <a:pt x="364531" y="110982"/>
                        <a:pt x="776700" y="0"/>
                        <a:pt x="1214790" y="0"/>
                      </a:cubicBezTo>
                      <a:close/>
                    </a:path>
                  </a:pathLst>
                </a:custGeom>
                <a:solidFill>
                  <a:schemeClr val="accent4"/>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3" name="Rectangle 32">
                  <a:extLst>
                    <a:ext uri="{FF2B5EF4-FFF2-40B4-BE49-F238E27FC236}">
                      <a16:creationId xmlns:a16="http://schemas.microsoft.com/office/drawing/2014/main" id="{FA662FF8-24E4-B0EF-740E-FEB2DDEDF928}"/>
                    </a:ext>
                  </a:extLst>
                </p:cNvPr>
                <p:cNvSpPr/>
                <p:nvPr/>
              </p:nvSpPr>
              <p:spPr>
                <a:xfrm rot="10800000">
                  <a:off x="5791938" y="3865074"/>
                  <a:ext cx="608125" cy="738437"/>
                </a:xfrm>
                <a:prstGeom prst="rect">
                  <a:avLst/>
                </a:prstGeom>
                <a:solidFill>
                  <a:schemeClr val="tx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rapezoid 33">
                  <a:extLst>
                    <a:ext uri="{FF2B5EF4-FFF2-40B4-BE49-F238E27FC236}">
                      <a16:creationId xmlns:a16="http://schemas.microsoft.com/office/drawing/2014/main" id="{714428DA-0ADA-2572-EF2B-90BD8AE89AAF}"/>
                    </a:ext>
                  </a:extLst>
                </p:cNvPr>
                <p:cNvSpPr/>
                <p:nvPr/>
              </p:nvSpPr>
              <p:spPr>
                <a:xfrm>
                  <a:off x="5230147" y="4603511"/>
                  <a:ext cx="1734603" cy="472020"/>
                </a:xfrm>
                <a:prstGeom prst="trapezoid">
                  <a:avLst>
                    <a:gd name="adj" fmla="val 119029"/>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44">
                  <a:extLst>
                    <a:ext uri="{FF2B5EF4-FFF2-40B4-BE49-F238E27FC236}">
                      <a16:creationId xmlns:a16="http://schemas.microsoft.com/office/drawing/2014/main" id="{7153E6EF-6681-A006-6686-49FEA1E78B7D}"/>
                    </a:ext>
                  </a:extLst>
                </p:cNvPr>
                <p:cNvSpPr>
                  <a:spLocks/>
                </p:cNvSpPr>
                <p:nvPr/>
              </p:nvSpPr>
              <p:spPr bwMode="auto">
                <a:xfrm rot="7200000">
                  <a:off x="6151962" y="3032767"/>
                  <a:ext cx="2771269" cy="2458665"/>
                </a:xfrm>
                <a:custGeom>
                  <a:avLst/>
                  <a:gdLst>
                    <a:gd name="connsiteX0" fmla="*/ 1214790 w 2430744"/>
                    <a:gd name="connsiteY0" fmla="*/ 0 h 2156551"/>
                    <a:gd name="connsiteX1" fmla="*/ 2424716 w 2430744"/>
                    <a:gd name="connsiteY1" fmla="*/ 306365 h 2156551"/>
                    <a:gd name="connsiteX2" fmla="*/ 2430744 w 2430744"/>
                    <a:gd name="connsiteY2" fmla="*/ 310027 h 2156551"/>
                    <a:gd name="connsiteX3" fmla="*/ 1977342 w 2430744"/>
                    <a:gd name="connsiteY3" fmla="*/ 1094831 h 2156551"/>
                    <a:gd name="connsiteX4" fmla="*/ 1974832 w 2430744"/>
                    <a:gd name="connsiteY4" fmla="*/ 1094831 h 2156551"/>
                    <a:gd name="connsiteX5" fmla="*/ 1482028 w 2430744"/>
                    <a:gd name="connsiteY5" fmla="*/ 1508851 h 2156551"/>
                    <a:gd name="connsiteX6" fmla="*/ 1482072 w 2430744"/>
                    <a:gd name="connsiteY6" fmla="*/ 1508851 h 2156551"/>
                    <a:gd name="connsiteX7" fmla="*/ 1482072 w 2430744"/>
                    <a:gd name="connsiteY7" fmla="*/ 2156551 h 2156551"/>
                    <a:gd name="connsiteX8" fmla="*/ 948672 w 2430744"/>
                    <a:gd name="connsiteY8" fmla="*/ 2156551 h 2156551"/>
                    <a:gd name="connsiteX9" fmla="*/ 948672 w 2430744"/>
                    <a:gd name="connsiteY9" fmla="*/ 1508851 h 2156551"/>
                    <a:gd name="connsiteX10" fmla="*/ 946176 w 2430744"/>
                    <a:gd name="connsiteY10" fmla="*/ 1508851 h 2156551"/>
                    <a:gd name="connsiteX11" fmla="*/ 453372 w 2430744"/>
                    <a:gd name="connsiteY11" fmla="*/ 1094831 h 2156551"/>
                    <a:gd name="connsiteX12" fmla="*/ 452830 w 2430744"/>
                    <a:gd name="connsiteY12" fmla="*/ 1094831 h 2156551"/>
                    <a:gd name="connsiteX13" fmla="*/ 0 w 2430744"/>
                    <a:gd name="connsiteY13" fmla="*/ 309320 h 2156551"/>
                    <a:gd name="connsiteX14" fmla="*/ 4864 w 2430744"/>
                    <a:gd name="connsiteY14" fmla="*/ 306365 h 2156551"/>
                    <a:gd name="connsiteX15" fmla="*/ 1214790 w 2430744"/>
                    <a:gd name="connsiteY15" fmla="*/ 0 h 21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30744" h="2156551">
                      <a:moveTo>
                        <a:pt x="1214790" y="0"/>
                      </a:moveTo>
                      <a:cubicBezTo>
                        <a:pt x="1652881" y="0"/>
                        <a:pt x="2065050" y="110982"/>
                        <a:pt x="2424716" y="306365"/>
                      </a:cubicBezTo>
                      <a:lnTo>
                        <a:pt x="2430744" y="310027"/>
                      </a:lnTo>
                      <a:lnTo>
                        <a:pt x="1977342" y="1094831"/>
                      </a:lnTo>
                      <a:lnTo>
                        <a:pt x="1974832" y="1094831"/>
                      </a:lnTo>
                      <a:lnTo>
                        <a:pt x="1482028" y="1508851"/>
                      </a:lnTo>
                      <a:lnTo>
                        <a:pt x="1482072" y="1508851"/>
                      </a:lnTo>
                      <a:lnTo>
                        <a:pt x="1482072" y="2156551"/>
                      </a:lnTo>
                      <a:lnTo>
                        <a:pt x="948672" y="2156551"/>
                      </a:lnTo>
                      <a:lnTo>
                        <a:pt x="948672" y="1508851"/>
                      </a:lnTo>
                      <a:lnTo>
                        <a:pt x="946176" y="1508851"/>
                      </a:lnTo>
                      <a:lnTo>
                        <a:pt x="453372" y="1094831"/>
                      </a:lnTo>
                      <a:lnTo>
                        <a:pt x="452830" y="1094831"/>
                      </a:lnTo>
                      <a:lnTo>
                        <a:pt x="0" y="309320"/>
                      </a:lnTo>
                      <a:lnTo>
                        <a:pt x="4864" y="306365"/>
                      </a:lnTo>
                      <a:cubicBezTo>
                        <a:pt x="364531" y="110982"/>
                        <a:pt x="776700" y="0"/>
                        <a:pt x="1214790" y="0"/>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6" name="Rectangle 35">
                  <a:extLst>
                    <a:ext uri="{FF2B5EF4-FFF2-40B4-BE49-F238E27FC236}">
                      <a16:creationId xmlns:a16="http://schemas.microsoft.com/office/drawing/2014/main" id="{AD1E6DC5-4D42-F8F5-B27F-1F8C6F637F5D}"/>
                    </a:ext>
                  </a:extLst>
                </p:cNvPr>
                <p:cNvSpPr/>
                <p:nvPr/>
              </p:nvSpPr>
              <p:spPr>
                <a:xfrm rot="7200000">
                  <a:off x="6488654" y="3462825"/>
                  <a:ext cx="608124" cy="738437"/>
                </a:xfrm>
                <a:prstGeom prst="rect">
                  <a:avLst/>
                </a:prstGeom>
                <a:solidFill>
                  <a:schemeClr val="tx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rapezoid 36">
                  <a:extLst>
                    <a:ext uri="{FF2B5EF4-FFF2-40B4-BE49-F238E27FC236}">
                      <a16:creationId xmlns:a16="http://schemas.microsoft.com/office/drawing/2014/main" id="{182FF4F0-FA19-5E19-7D65-CEE8EC940FE4}"/>
                    </a:ext>
                  </a:extLst>
                </p:cNvPr>
                <p:cNvSpPr/>
                <p:nvPr/>
              </p:nvSpPr>
              <p:spPr>
                <a:xfrm rot="18000000">
                  <a:off x="6450283" y="3897393"/>
                  <a:ext cx="1734603" cy="472021"/>
                </a:xfrm>
                <a:prstGeom prst="trapezoid">
                  <a:avLst>
                    <a:gd name="adj" fmla="val 119029"/>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reeform 49">
                  <a:extLst>
                    <a:ext uri="{FF2B5EF4-FFF2-40B4-BE49-F238E27FC236}">
                      <a16:creationId xmlns:a16="http://schemas.microsoft.com/office/drawing/2014/main" id="{45B2F934-ADDE-1EAA-0E5B-3B403AAEFB89}"/>
                    </a:ext>
                  </a:extLst>
                </p:cNvPr>
                <p:cNvSpPr>
                  <a:spLocks/>
                </p:cNvSpPr>
                <p:nvPr/>
              </p:nvSpPr>
              <p:spPr bwMode="auto">
                <a:xfrm rot="3600000">
                  <a:off x="6151962" y="1368156"/>
                  <a:ext cx="2771269" cy="2458665"/>
                </a:xfrm>
                <a:custGeom>
                  <a:avLst/>
                  <a:gdLst>
                    <a:gd name="connsiteX0" fmla="*/ 1214790 w 2430744"/>
                    <a:gd name="connsiteY0" fmla="*/ 0 h 2156551"/>
                    <a:gd name="connsiteX1" fmla="*/ 2424716 w 2430744"/>
                    <a:gd name="connsiteY1" fmla="*/ 306365 h 2156551"/>
                    <a:gd name="connsiteX2" fmla="*/ 2430744 w 2430744"/>
                    <a:gd name="connsiteY2" fmla="*/ 310027 h 2156551"/>
                    <a:gd name="connsiteX3" fmla="*/ 1977342 w 2430744"/>
                    <a:gd name="connsiteY3" fmla="*/ 1094831 h 2156551"/>
                    <a:gd name="connsiteX4" fmla="*/ 1974832 w 2430744"/>
                    <a:gd name="connsiteY4" fmla="*/ 1094831 h 2156551"/>
                    <a:gd name="connsiteX5" fmla="*/ 1482028 w 2430744"/>
                    <a:gd name="connsiteY5" fmla="*/ 1508851 h 2156551"/>
                    <a:gd name="connsiteX6" fmla="*/ 1482072 w 2430744"/>
                    <a:gd name="connsiteY6" fmla="*/ 1508851 h 2156551"/>
                    <a:gd name="connsiteX7" fmla="*/ 1482072 w 2430744"/>
                    <a:gd name="connsiteY7" fmla="*/ 2156551 h 2156551"/>
                    <a:gd name="connsiteX8" fmla="*/ 948672 w 2430744"/>
                    <a:gd name="connsiteY8" fmla="*/ 2156551 h 2156551"/>
                    <a:gd name="connsiteX9" fmla="*/ 948672 w 2430744"/>
                    <a:gd name="connsiteY9" fmla="*/ 1508851 h 2156551"/>
                    <a:gd name="connsiteX10" fmla="*/ 946176 w 2430744"/>
                    <a:gd name="connsiteY10" fmla="*/ 1508851 h 2156551"/>
                    <a:gd name="connsiteX11" fmla="*/ 453372 w 2430744"/>
                    <a:gd name="connsiteY11" fmla="*/ 1094831 h 2156551"/>
                    <a:gd name="connsiteX12" fmla="*/ 452830 w 2430744"/>
                    <a:gd name="connsiteY12" fmla="*/ 1094831 h 2156551"/>
                    <a:gd name="connsiteX13" fmla="*/ 0 w 2430744"/>
                    <a:gd name="connsiteY13" fmla="*/ 309320 h 2156551"/>
                    <a:gd name="connsiteX14" fmla="*/ 4864 w 2430744"/>
                    <a:gd name="connsiteY14" fmla="*/ 306365 h 2156551"/>
                    <a:gd name="connsiteX15" fmla="*/ 1214790 w 2430744"/>
                    <a:gd name="connsiteY15" fmla="*/ 0 h 21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30744" h="2156551">
                      <a:moveTo>
                        <a:pt x="1214790" y="0"/>
                      </a:moveTo>
                      <a:cubicBezTo>
                        <a:pt x="1652881" y="0"/>
                        <a:pt x="2065050" y="110982"/>
                        <a:pt x="2424716" y="306365"/>
                      </a:cubicBezTo>
                      <a:lnTo>
                        <a:pt x="2430744" y="310027"/>
                      </a:lnTo>
                      <a:lnTo>
                        <a:pt x="1977342" y="1094831"/>
                      </a:lnTo>
                      <a:lnTo>
                        <a:pt x="1974832" y="1094831"/>
                      </a:lnTo>
                      <a:lnTo>
                        <a:pt x="1482028" y="1508851"/>
                      </a:lnTo>
                      <a:lnTo>
                        <a:pt x="1482072" y="1508851"/>
                      </a:lnTo>
                      <a:lnTo>
                        <a:pt x="1482072" y="2156551"/>
                      </a:lnTo>
                      <a:lnTo>
                        <a:pt x="948672" y="2156551"/>
                      </a:lnTo>
                      <a:lnTo>
                        <a:pt x="948672" y="1508851"/>
                      </a:lnTo>
                      <a:lnTo>
                        <a:pt x="946176" y="1508851"/>
                      </a:lnTo>
                      <a:lnTo>
                        <a:pt x="453372" y="1094831"/>
                      </a:lnTo>
                      <a:lnTo>
                        <a:pt x="452830" y="1094831"/>
                      </a:lnTo>
                      <a:lnTo>
                        <a:pt x="0" y="309320"/>
                      </a:lnTo>
                      <a:lnTo>
                        <a:pt x="4864" y="306365"/>
                      </a:lnTo>
                      <a:cubicBezTo>
                        <a:pt x="364531" y="110982"/>
                        <a:pt x="776700" y="0"/>
                        <a:pt x="1214790"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9" name="Rectangle 38">
                  <a:extLst>
                    <a:ext uri="{FF2B5EF4-FFF2-40B4-BE49-F238E27FC236}">
                      <a16:creationId xmlns:a16="http://schemas.microsoft.com/office/drawing/2014/main" id="{A673B149-C7B1-B3A7-50DF-3BCF0434CEBA}"/>
                    </a:ext>
                  </a:extLst>
                </p:cNvPr>
                <p:cNvSpPr/>
                <p:nvPr/>
              </p:nvSpPr>
              <p:spPr>
                <a:xfrm rot="3600000">
                  <a:off x="6488654" y="2658326"/>
                  <a:ext cx="608124" cy="738437"/>
                </a:xfrm>
                <a:prstGeom prst="rect">
                  <a:avLst/>
                </a:prstGeom>
                <a:solidFill>
                  <a:schemeClr val="tx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rapezoid 39">
                  <a:extLst>
                    <a:ext uri="{FF2B5EF4-FFF2-40B4-BE49-F238E27FC236}">
                      <a16:creationId xmlns:a16="http://schemas.microsoft.com/office/drawing/2014/main" id="{92D39FD4-8B81-7015-8DEE-DE375829CE35}"/>
                    </a:ext>
                  </a:extLst>
                </p:cNvPr>
                <p:cNvSpPr/>
                <p:nvPr/>
              </p:nvSpPr>
              <p:spPr>
                <a:xfrm rot="14400000">
                  <a:off x="6448835" y="2487666"/>
                  <a:ext cx="1734603" cy="472021"/>
                </a:xfrm>
                <a:prstGeom prst="trapezoid">
                  <a:avLst>
                    <a:gd name="adj" fmla="val 119029"/>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BAC1612B-5A7F-27CD-CE11-EA777DEACB2A}"/>
                    </a:ext>
                  </a:extLst>
                </p:cNvPr>
                <p:cNvSpPr/>
                <p:nvPr/>
              </p:nvSpPr>
              <p:spPr>
                <a:xfrm>
                  <a:off x="5382721" y="2716514"/>
                  <a:ext cx="1426560" cy="1426559"/>
                </a:xfrm>
                <a:prstGeom prst="ellipse">
                  <a:avLst/>
                </a:prstGeom>
                <a:gradFill flip="none" rotWithShape="1">
                  <a:gsLst>
                    <a:gs pos="0">
                      <a:schemeClr val="bg1">
                        <a:lumMod val="95000"/>
                        <a:shade val="30000"/>
                        <a:satMod val="115000"/>
                      </a:schemeClr>
                    </a:gs>
                    <a:gs pos="50000">
                      <a:schemeClr val="bg1">
                        <a:lumMod val="95000"/>
                        <a:shade val="67500"/>
                        <a:satMod val="115000"/>
                      </a:schemeClr>
                    </a:gs>
                    <a:gs pos="100000">
                      <a:schemeClr val="bg1">
                        <a:lumMod val="95000"/>
                        <a:shade val="100000"/>
                        <a:satMod val="115000"/>
                      </a:schemeClr>
                    </a:gs>
                  </a:gsLst>
                  <a:lin ang="2700000" scaled="1"/>
                  <a:tileRect/>
                </a:gra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Shape 3619">
                <a:extLst>
                  <a:ext uri="{FF2B5EF4-FFF2-40B4-BE49-F238E27FC236}">
                    <a16:creationId xmlns:a16="http://schemas.microsoft.com/office/drawing/2014/main" id="{2FC7AF4F-1AAD-7208-B4BB-1571DAC0CD5C}"/>
                  </a:ext>
                </a:extLst>
              </p:cNvPr>
              <p:cNvSpPr/>
              <p:nvPr/>
            </p:nvSpPr>
            <p:spPr>
              <a:xfrm>
                <a:off x="4269963" y="4201363"/>
                <a:ext cx="406003" cy="332184"/>
              </a:xfrm>
              <a:custGeom>
                <a:avLst/>
                <a:gdLst/>
                <a:ahLst/>
                <a:cxnLst>
                  <a:cxn ang="0">
                    <a:pos x="wd2" y="hd2"/>
                  </a:cxn>
                  <a:cxn ang="5400000">
                    <a:pos x="wd2" y="hd2"/>
                  </a:cxn>
                  <a:cxn ang="10800000">
                    <a:pos x="wd2" y="hd2"/>
                  </a:cxn>
                  <a:cxn ang="16200000">
                    <a:pos x="wd2" y="hd2"/>
                  </a:cxn>
                </a:cxnLst>
                <a:rect l="0" t="0" r="r" b="b"/>
                <a:pathLst>
                  <a:path w="21600" h="21600" extrusionOk="0">
                    <a:moveTo>
                      <a:pt x="20618" y="20400"/>
                    </a:moveTo>
                    <a:lnTo>
                      <a:pt x="18655" y="20400"/>
                    </a:lnTo>
                    <a:lnTo>
                      <a:pt x="18655" y="1200"/>
                    </a:lnTo>
                    <a:lnTo>
                      <a:pt x="20618" y="1200"/>
                    </a:lnTo>
                    <a:cubicBezTo>
                      <a:pt x="20618" y="1200"/>
                      <a:pt x="20618" y="20400"/>
                      <a:pt x="20618" y="20400"/>
                    </a:cubicBezTo>
                    <a:close/>
                    <a:moveTo>
                      <a:pt x="21109" y="0"/>
                    </a:moveTo>
                    <a:lnTo>
                      <a:pt x="18164" y="0"/>
                    </a:lnTo>
                    <a:cubicBezTo>
                      <a:pt x="17893" y="0"/>
                      <a:pt x="17673" y="269"/>
                      <a:pt x="17673" y="600"/>
                    </a:cubicBezTo>
                    <a:lnTo>
                      <a:pt x="17673" y="21000"/>
                    </a:lnTo>
                    <a:cubicBezTo>
                      <a:pt x="17673" y="21332"/>
                      <a:pt x="17893" y="21600"/>
                      <a:pt x="18164" y="21600"/>
                    </a:cubicBezTo>
                    <a:lnTo>
                      <a:pt x="21109" y="21600"/>
                    </a:lnTo>
                    <a:cubicBezTo>
                      <a:pt x="21380" y="21600"/>
                      <a:pt x="21600" y="21332"/>
                      <a:pt x="21600" y="21000"/>
                    </a:cubicBezTo>
                    <a:lnTo>
                      <a:pt x="21600" y="600"/>
                    </a:lnTo>
                    <a:cubicBezTo>
                      <a:pt x="21600" y="269"/>
                      <a:pt x="21380" y="0"/>
                      <a:pt x="21109" y="0"/>
                    </a:cubicBezTo>
                    <a:moveTo>
                      <a:pt x="8836" y="20400"/>
                    </a:moveTo>
                    <a:lnTo>
                      <a:pt x="6873" y="20400"/>
                    </a:lnTo>
                    <a:lnTo>
                      <a:pt x="6873" y="3600"/>
                    </a:lnTo>
                    <a:lnTo>
                      <a:pt x="8836" y="3600"/>
                    </a:lnTo>
                    <a:cubicBezTo>
                      <a:pt x="8836" y="3600"/>
                      <a:pt x="8836" y="20400"/>
                      <a:pt x="8836" y="20400"/>
                    </a:cubicBezTo>
                    <a:close/>
                    <a:moveTo>
                      <a:pt x="9327" y="2400"/>
                    </a:moveTo>
                    <a:lnTo>
                      <a:pt x="6382" y="2400"/>
                    </a:lnTo>
                    <a:cubicBezTo>
                      <a:pt x="6111" y="2400"/>
                      <a:pt x="5891" y="2669"/>
                      <a:pt x="5891" y="3000"/>
                    </a:cubicBezTo>
                    <a:lnTo>
                      <a:pt x="5891" y="21000"/>
                    </a:lnTo>
                    <a:cubicBezTo>
                      <a:pt x="5891" y="21332"/>
                      <a:pt x="6111" y="21600"/>
                      <a:pt x="6382" y="21600"/>
                    </a:cubicBezTo>
                    <a:lnTo>
                      <a:pt x="9327" y="21600"/>
                    </a:lnTo>
                    <a:cubicBezTo>
                      <a:pt x="9598" y="21600"/>
                      <a:pt x="9818" y="21332"/>
                      <a:pt x="9818" y="21000"/>
                    </a:cubicBezTo>
                    <a:lnTo>
                      <a:pt x="9818" y="3000"/>
                    </a:lnTo>
                    <a:cubicBezTo>
                      <a:pt x="9818" y="2669"/>
                      <a:pt x="9598" y="2400"/>
                      <a:pt x="9327" y="2400"/>
                    </a:cubicBezTo>
                    <a:moveTo>
                      <a:pt x="14727" y="20400"/>
                    </a:moveTo>
                    <a:lnTo>
                      <a:pt x="12764" y="20400"/>
                    </a:lnTo>
                    <a:lnTo>
                      <a:pt x="12764" y="10800"/>
                    </a:lnTo>
                    <a:lnTo>
                      <a:pt x="14727" y="10800"/>
                    </a:lnTo>
                    <a:cubicBezTo>
                      <a:pt x="14727" y="10800"/>
                      <a:pt x="14727" y="20400"/>
                      <a:pt x="14727" y="20400"/>
                    </a:cubicBezTo>
                    <a:close/>
                    <a:moveTo>
                      <a:pt x="15218" y="9600"/>
                    </a:moveTo>
                    <a:lnTo>
                      <a:pt x="12273" y="9600"/>
                    </a:lnTo>
                    <a:cubicBezTo>
                      <a:pt x="12002" y="9600"/>
                      <a:pt x="11782" y="9869"/>
                      <a:pt x="11782" y="10200"/>
                    </a:cubicBezTo>
                    <a:lnTo>
                      <a:pt x="11782" y="21000"/>
                    </a:lnTo>
                    <a:cubicBezTo>
                      <a:pt x="11782" y="21332"/>
                      <a:pt x="12002" y="21600"/>
                      <a:pt x="12273" y="21600"/>
                    </a:cubicBezTo>
                    <a:lnTo>
                      <a:pt x="15218" y="21600"/>
                    </a:lnTo>
                    <a:cubicBezTo>
                      <a:pt x="15489" y="21600"/>
                      <a:pt x="15709" y="21332"/>
                      <a:pt x="15709" y="21000"/>
                    </a:cubicBezTo>
                    <a:lnTo>
                      <a:pt x="15709" y="10200"/>
                    </a:lnTo>
                    <a:cubicBezTo>
                      <a:pt x="15709" y="9869"/>
                      <a:pt x="15489" y="9600"/>
                      <a:pt x="15218" y="9600"/>
                    </a:cubicBezTo>
                    <a:moveTo>
                      <a:pt x="2945" y="20400"/>
                    </a:moveTo>
                    <a:lnTo>
                      <a:pt x="982" y="20400"/>
                    </a:lnTo>
                    <a:lnTo>
                      <a:pt x="982" y="14400"/>
                    </a:lnTo>
                    <a:lnTo>
                      <a:pt x="2945" y="14400"/>
                    </a:lnTo>
                    <a:cubicBezTo>
                      <a:pt x="2945" y="14400"/>
                      <a:pt x="2945" y="20400"/>
                      <a:pt x="2945" y="20400"/>
                    </a:cubicBezTo>
                    <a:close/>
                    <a:moveTo>
                      <a:pt x="3436" y="13200"/>
                    </a:moveTo>
                    <a:lnTo>
                      <a:pt x="491" y="13200"/>
                    </a:lnTo>
                    <a:cubicBezTo>
                      <a:pt x="220" y="13200"/>
                      <a:pt x="0" y="13469"/>
                      <a:pt x="0" y="13800"/>
                    </a:cubicBezTo>
                    <a:lnTo>
                      <a:pt x="0" y="21000"/>
                    </a:lnTo>
                    <a:cubicBezTo>
                      <a:pt x="0" y="21332"/>
                      <a:pt x="220" y="21600"/>
                      <a:pt x="491" y="21600"/>
                    </a:cubicBezTo>
                    <a:lnTo>
                      <a:pt x="3436" y="21600"/>
                    </a:lnTo>
                    <a:cubicBezTo>
                      <a:pt x="3707" y="21600"/>
                      <a:pt x="3927" y="21332"/>
                      <a:pt x="3927" y="21000"/>
                    </a:cubicBezTo>
                    <a:lnTo>
                      <a:pt x="3927" y="13800"/>
                    </a:lnTo>
                    <a:cubicBezTo>
                      <a:pt x="3927" y="13469"/>
                      <a:pt x="3707" y="13200"/>
                      <a:pt x="3436" y="13200"/>
                    </a:cubicBezTo>
                  </a:path>
                </a:pathLst>
              </a:custGeom>
              <a:solidFill>
                <a:schemeClr val="bg1"/>
              </a:solidFill>
              <a:ln w="12700">
                <a:miter lim="400000"/>
              </a:ln>
            </p:spPr>
            <p:txBody>
              <a:bodyPr lIns="38100" tIns="38100" rIns="38100" bIns="38100" anchor="ctr"/>
              <a:lstStyle/>
              <a:p>
                <a:endParaRPr>
                  <a:solidFill>
                    <a:prstClr val="black"/>
                  </a:solidFill>
                </a:endParaRPr>
              </a:p>
            </p:txBody>
          </p:sp>
          <p:sp>
            <p:nvSpPr>
              <p:cNvPr id="17" name="Shape 3660">
                <a:extLst>
                  <a:ext uri="{FF2B5EF4-FFF2-40B4-BE49-F238E27FC236}">
                    <a16:creationId xmlns:a16="http://schemas.microsoft.com/office/drawing/2014/main" id="{ADC17EE6-03DB-BB1F-ADBA-CDFA8BBB1EAA}"/>
                  </a:ext>
                </a:extLst>
              </p:cNvPr>
              <p:cNvSpPr/>
              <p:nvPr/>
            </p:nvSpPr>
            <p:spPr>
              <a:xfrm>
                <a:off x="4329282" y="2300929"/>
                <a:ext cx="406003" cy="406003"/>
              </a:xfrm>
              <a:custGeom>
                <a:avLst/>
                <a:gdLst/>
                <a:ahLst/>
                <a:cxnLst>
                  <a:cxn ang="0">
                    <a:pos x="wd2" y="hd2"/>
                  </a:cxn>
                  <a:cxn ang="5400000">
                    <a:pos x="wd2" y="hd2"/>
                  </a:cxn>
                  <a:cxn ang="10800000">
                    <a:pos x="wd2" y="hd2"/>
                  </a:cxn>
                  <a:cxn ang="16200000">
                    <a:pos x="wd2" y="hd2"/>
                  </a:cxn>
                </a:cxnLst>
                <a:rect l="0" t="0" r="r" b="b"/>
                <a:pathLst>
                  <a:path w="21600" h="21600" extrusionOk="0">
                    <a:moveTo>
                      <a:pt x="12281" y="19846"/>
                    </a:moveTo>
                    <a:lnTo>
                      <a:pt x="9413" y="12882"/>
                    </a:lnTo>
                    <a:lnTo>
                      <a:pt x="19655" y="2641"/>
                    </a:lnTo>
                    <a:cubicBezTo>
                      <a:pt x="19655" y="2641"/>
                      <a:pt x="12281" y="19846"/>
                      <a:pt x="12281" y="19846"/>
                    </a:cubicBezTo>
                    <a:close/>
                    <a:moveTo>
                      <a:pt x="1755" y="9320"/>
                    </a:moveTo>
                    <a:lnTo>
                      <a:pt x="18960" y="1945"/>
                    </a:lnTo>
                    <a:lnTo>
                      <a:pt x="8719" y="12187"/>
                    </a:lnTo>
                    <a:cubicBezTo>
                      <a:pt x="8719" y="12187"/>
                      <a:pt x="1755" y="9320"/>
                      <a:pt x="1755" y="9320"/>
                    </a:cubicBezTo>
                    <a:close/>
                    <a:moveTo>
                      <a:pt x="21600" y="491"/>
                    </a:moveTo>
                    <a:cubicBezTo>
                      <a:pt x="21600" y="221"/>
                      <a:pt x="21380" y="0"/>
                      <a:pt x="21109" y="0"/>
                    </a:cubicBezTo>
                    <a:cubicBezTo>
                      <a:pt x="21034" y="0"/>
                      <a:pt x="20964" y="20"/>
                      <a:pt x="20900" y="52"/>
                    </a:cubicBezTo>
                    <a:lnTo>
                      <a:pt x="20898" y="48"/>
                    </a:lnTo>
                    <a:lnTo>
                      <a:pt x="302" y="8875"/>
                    </a:lnTo>
                    <a:cubicBezTo>
                      <a:pt x="301" y="8876"/>
                      <a:pt x="299" y="8876"/>
                      <a:pt x="297" y="8877"/>
                    </a:cubicBezTo>
                    <a:lnTo>
                      <a:pt x="280" y="8884"/>
                    </a:lnTo>
                    <a:lnTo>
                      <a:pt x="281" y="8887"/>
                    </a:lnTo>
                    <a:cubicBezTo>
                      <a:pt x="116" y="8967"/>
                      <a:pt x="0" y="9133"/>
                      <a:pt x="0" y="9327"/>
                    </a:cubicBezTo>
                    <a:cubicBezTo>
                      <a:pt x="0" y="9551"/>
                      <a:pt x="151" y="9732"/>
                      <a:pt x="355" y="9791"/>
                    </a:cubicBezTo>
                    <a:lnTo>
                      <a:pt x="353" y="9799"/>
                    </a:lnTo>
                    <a:lnTo>
                      <a:pt x="8462" y="13138"/>
                    </a:lnTo>
                    <a:lnTo>
                      <a:pt x="11801" y="21248"/>
                    </a:lnTo>
                    <a:lnTo>
                      <a:pt x="11809" y="21245"/>
                    </a:lnTo>
                    <a:cubicBezTo>
                      <a:pt x="11869" y="21449"/>
                      <a:pt x="12050" y="21600"/>
                      <a:pt x="12273" y="21600"/>
                    </a:cubicBezTo>
                    <a:cubicBezTo>
                      <a:pt x="12468" y="21600"/>
                      <a:pt x="12634" y="21484"/>
                      <a:pt x="12713" y="21319"/>
                    </a:cubicBezTo>
                    <a:lnTo>
                      <a:pt x="12716" y="21320"/>
                    </a:lnTo>
                    <a:lnTo>
                      <a:pt x="12723" y="21303"/>
                    </a:lnTo>
                    <a:cubicBezTo>
                      <a:pt x="12724" y="21301"/>
                      <a:pt x="12725" y="21300"/>
                      <a:pt x="12725" y="21298"/>
                    </a:cubicBezTo>
                    <a:lnTo>
                      <a:pt x="21553" y="702"/>
                    </a:lnTo>
                    <a:lnTo>
                      <a:pt x="21547" y="700"/>
                    </a:lnTo>
                    <a:cubicBezTo>
                      <a:pt x="21578" y="637"/>
                      <a:pt x="21600" y="567"/>
                      <a:pt x="21600" y="491"/>
                    </a:cubicBezTo>
                    <a:moveTo>
                      <a:pt x="7855" y="16200"/>
                    </a:moveTo>
                    <a:cubicBezTo>
                      <a:pt x="7719" y="16200"/>
                      <a:pt x="7596" y="16256"/>
                      <a:pt x="7507" y="16344"/>
                    </a:cubicBezTo>
                    <a:lnTo>
                      <a:pt x="6035" y="17817"/>
                    </a:lnTo>
                    <a:cubicBezTo>
                      <a:pt x="5946" y="17906"/>
                      <a:pt x="5891" y="18028"/>
                      <a:pt x="5891" y="18164"/>
                    </a:cubicBezTo>
                    <a:cubicBezTo>
                      <a:pt x="5891" y="18435"/>
                      <a:pt x="6111" y="18655"/>
                      <a:pt x="6382" y="18655"/>
                    </a:cubicBezTo>
                    <a:cubicBezTo>
                      <a:pt x="6517" y="18655"/>
                      <a:pt x="6640" y="18600"/>
                      <a:pt x="6729" y="18511"/>
                    </a:cubicBezTo>
                    <a:lnTo>
                      <a:pt x="8202" y="17038"/>
                    </a:lnTo>
                    <a:cubicBezTo>
                      <a:pt x="8291" y="16950"/>
                      <a:pt x="8345" y="16827"/>
                      <a:pt x="8345" y="16691"/>
                    </a:cubicBezTo>
                    <a:cubicBezTo>
                      <a:pt x="8345" y="16421"/>
                      <a:pt x="8126" y="16200"/>
                      <a:pt x="7855" y="16200"/>
                    </a:cubicBezTo>
                    <a:moveTo>
                      <a:pt x="7855" y="14237"/>
                    </a:moveTo>
                    <a:cubicBezTo>
                      <a:pt x="7855" y="13966"/>
                      <a:pt x="7635" y="13745"/>
                      <a:pt x="7364" y="13745"/>
                    </a:cubicBezTo>
                    <a:cubicBezTo>
                      <a:pt x="7228" y="13745"/>
                      <a:pt x="7105" y="13801"/>
                      <a:pt x="7017" y="13889"/>
                    </a:cubicBezTo>
                    <a:lnTo>
                      <a:pt x="2107" y="18798"/>
                    </a:lnTo>
                    <a:cubicBezTo>
                      <a:pt x="2019" y="18888"/>
                      <a:pt x="1964" y="19010"/>
                      <a:pt x="1964" y="19145"/>
                    </a:cubicBezTo>
                    <a:cubicBezTo>
                      <a:pt x="1964" y="19417"/>
                      <a:pt x="2184" y="19636"/>
                      <a:pt x="2455" y="19636"/>
                    </a:cubicBezTo>
                    <a:cubicBezTo>
                      <a:pt x="2590" y="19636"/>
                      <a:pt x="2713" y="19582"/>
                      <a:pt x="2802" y="19493"/>
                    </a:cubicBezTo>
                    <a:lnTo>
                      <a:pt x="7711" y="14583"/>
                    </a:lnTo>
                    <a:cubicBezTo>
                      <a:pt x="7800" y="14495"/>
                      <a:pt x="7855" y="14373"/>
                      <a:pt x="7855" y="14237"/>
                    </a:cubicBezTo>
                    <a:moveTo>
                      <a:pt x="4765" y="14583"/>
                    </a:moveTo>
                    <a:lnTo>
                      <a:pt x="5256" y="14093"/>
                    </a:lnTo>
                    <a:cubicBezTo>
                      <a:pt x="5345" y="14004"/>
                      <a:pt x="5400" y="13882"/>
                      <a:pt x="5400" y="13745"/>
                    </a:cubicBezTo>
                    <a:cubicBezTo>
                      <a:pt x="5400" y="13475"/>
                      <a:pt x="5180" y="13255"/>
                      <a:pt x="4909" y="13255"/>
                    </a:cubicBezTo>
                    <a:cubicBezTo>
                      <a:pt x="4774" y="13255"/>
                      <a:pt x="4651" y="13310"/>
                      <a:pt x="4562" y="13398"/>
                    </a:cubicBezTo>
                    <a:lnTo>
                      <a:pt x="4071" y="13889"/>
                    </a:lnTo>
                    <a:cubicBezTo>
                      <a:pt x="3982" y="13978"/>
                      <a:pt x="3927" y="14101"/>
                      <a:pt x="3927" y="14237"/>
                    </a:cubicBezTo>
                    <a:cubicBezTo>
                      <a:pt x="3927" y="14508"/>
                      <a:pt x="4147" y="14727"/>
                      <a:pt x="4418" y="14727"/>
                    </a:cubicBezTo>
                    <a:cubicBezTo>
                      <a:pt x="4554" y="14727"/>
                      <a:pt x="4676" y="14673"/>
                      <a:pt x="4765" y="14583"/>
                    </a:cubicBezTo>
                  </a:path>
                </a:pathLst>
              </a:custGeom>
              <a:solidFill>
                <a:schemeClr val="bg1"/>
              </a:solidFill>
              <a:ln w="12700">
                <a:miter lim="400000"/>
              </a:ln>
            </p:spPr>
            <p:txBody>
              <a:bodyPr lIns="38100" tIns="38100" rIns="38100" bIns="38100" anchor="ctr"/>
              <a:lstStyle/>
              <a:p>
                <a:endParaRPr>
                  <a:solidFill>
                    <a:prstClr val="black"/>
                  </a:solidFill>
                </a:endParaRPr>
              </a:p>
            </p:txBody>
          </p:sp>
          <p:sp>
            <p:nvSpPr>
              <p:cNvPr id="18" name="Shape 3664">
                <a:extLst>
                  <a:ext uri="{FF2B5EF4-FFF2-40B4-BE49-F238E27FC236}">
                    <a16:creationId xmlns:a16="http://schemas.microsoft.com/office/drawing/2014/main" id="{F3F55DC6-467A-58DA-433E-B00682910D66}"/>
                  </a:ext>
                </a:extLst>
              </p:cNvPr>
              <p:cNvSpPr/>
              <p:nvPr/>
            </p:nvSpPr>
            <p:spPr>
              <a:xfrm>
                <a:off x="7446793" y="2335409"/>
                <a:ext cx="406003" cy="406003"/>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8631" y="14727"/>
                      <a:pt x="6873" y="12969"/>
                      <a:pt x="6873" y="10800"/>
                    </a:cubicBezTo>
                    <a:cubicBezTo>
                      <a:pt x="6873" y="8631"/>
                      <a:pt x="8631" y="6873"/>
                      <a:pt x="10800" y="6873"/>
                    </a:cubicBezTo>
                    <a:cubicBezTo>
                      <a:pt x="12969" y="6873"/>
                      <a:pt x="14727" y="8631"/>
                      <a:pt x="14727" y="10800"/>
                    </a:cubicBezTo>
                    <a:cubicBezTo>
                      <a:pt x="14727" y="12969"/>
                      <a:pt x="12969" y="14727"/>
                      <a:pt x="10800" y="14727"/>
                    </a:cubicBezTo>
                    <a:moveTo>
                      <a:pt x="10800" y="5891"/>
                    </a:moveTo>
                    <a:cubicBezTo>
                      <a:pt x="8088" y="5891"/>
                      <a:pt x="5891" y="8089"/>
                      <a:pt x="5891" y="10800"/>
                    </a:cubicBezTo>
                    <a:cubicBezTo>
                      <a:pt x="5891" y="13512"/>
                      <a:pt x="8088" y="15709"/>
                      <a:pt x="10800" y="15709"/>
                    </a:cubicBezTo>
                    <a:cubicBezTo>
                      <a:pt x="13512" y="15709"/>
                      <a:pt x="15709" y="13512"/>
                      <a:pt x="15709" y="10800"/>
                    </a:cubicBezTo>
                    <a:cubicBezTo>
                      <a:pt x="15709" y="8089"/>
                      <a:pt x="13512" y="5891"/>
                      <a:pt x="10800" y="5891"/>
                    </a:cubicBezTo>
                    <a:moveTo>
                      <a:pt x="20618" y="12013"/>
                    </a:moveTo>
                    <a:cubicBezTo>
                      <a:pt x="20614" y="12014"/>
                      <a:pt x="20611" y="12016"/>
                      <a:pt x="20607" y="12017"/>
                    </a:cubicBezTo>
                    <a:lnTo>
                      <a:pt x="19602" y="12268"/>
                    </a:lnTo>
                    <a:cubicBezTo>
                      <a:pt x="19256" y="12354"/>
                      <a:pt x="18984" y="12622"/>
                      <a:pt x="18892" y="12966"/>
                    </a:cubicBezTo>
                    <a:cubicBezTo>
                      <a:pt x="18703" y="13673"/>
                      <a:pt x="18421" y="14351"/>
                      <a:pt x="18053" y="14986"/>
                    </a:cubicBezTo>
                    <a:cubicBezTo>
                      <a:pt x="17873" y="15295"/>
                      <a:pt x="17876" y="15677"/>
                      <a:pt x="18060" y="15984"/>
                    </a:cubicBezTo>
                    <a:lnTo>
                      <a:pt x="18601" y="16885"/>
                    </a:lnTo>
                    <a:lnTo>
                      <a:pt x="16886" y="18600"/>
                    </a:lnTo>
                    <a:cubicBezTo>
                      <a:pt x="16882" y="18599"/>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8"/>
                    </a:lnTo>
                    <a:cubicBezTo>
                      <a:pt x="12015" y="20611"/>
                      <a:pt x="12014" y="20614"/>
                      <a:pt x="12012" y="20619"/>
                    </a:cubicBezTo>
                    <a:lnTo>
                      <a:pt x="9587" y="20619"/>
                    </a:lnTo>
                    <a:lnTo>
                      <a:pt x="9331" y="19594"/>
                    </a:lnTo>
                    <a:cubicBezTo>
                      <a:pt x="9244" y="19248"/>
                      <a:pt x="8976" y="18976"/>
                      <a:pt x="8632" y="18884"/>
                    </a:cubicBezTo>
                    <a:cubicBezTo>
                      <a:pt x="7929" y="18696"/>
                      <a:pt x="7251" y="18415"/>
                      <a:pt x="6617" y="18049"/>
                    </a:cubicBezTo>
                    <a:cubicBezTo>
                      <a:pt x="6465" y="17961"/>
                      <a:pt x="6296" y="17917"/>
                      <a:pt x="6127" y="17917"/>
                    </a:cubicBezTo>
                    <a:cubicBezTo>
                      <a:pt x="5951" y="17917"/>
                      <a:pt x="5777" y="17964"/>
                      <a:pt x="5621" y="18057"/>
                    </a:cubicBezTo>
                    <a:lnTo>
                      <a:pt x="4725" y="18595"/>
                    </a:lnTo>
                    <a:cubicBezTo>
                      <a:pt x="4722" y="18597"/>
                      <a:pt x="4718" y="18599"/>
                      <a:pt x="4714" y="18600"/>
                    </a:cubicBezTo>
                    <a:lnTo>
                      <a:pt x="3000" y="16885"/>
                    </a:lnTo>
                    <a:lnTo>
                      <a:pt x="3540" y="15983"/>
                    </a:lnTo>
                    <a:cubicBezTo>
                      <a:pt x="3724" y="15677"/>
                      <a:pt x="3727" y="15295"/>
                      <a:pt x="3548" y="14986"/>
                    </a:cubicBezTo>
                    <a:cubicBezTo>
                      <a:pt x="3179" y="14351"/>
                      <a:pt x="2897" y="13672"/>
                      <a:pt x="2708" y="12966"/>
                    </a:cubicBezTo>
                    <a:cubicBezTo>
                      <a:pt x="2616" y="12622"/>
                      <a:pt x="2343" y="12354"/>
                      <a:pt x="1998" y="12268"/>
                    </a:cubicBezTo>
                    <a:lnTo>
                      <a:pt x="993" y="12017"/>
                    </a:lnTo>
                    <a:cubicBezTo>
                      <a:pt x="989" y="12016"/>
                      <a:pt x="986" y="12014"/>
                      <a:pt x="982" y="12013"/>
                    </a:cubicBezTo>
                    <a:lnTo>
                      <a:pt x="982" y="9587"/>
                    </a:lnTo>
                    <a:lnTo>
                      <a:pt x="1998" y="9333"/>
                    </a:lnTo>
                    <a:cubicBezTo>
                      <a:pt x="2343" y="9247"/>
                      <a:pt x="2616" y="8979"/>
                      <a:pt x="2708" y="8634"/>
                    </a:cubicBezTo>
                    <a:cubicBezTo>
                      <a:pt x="2897" y="7928"/>
                      <a:pt x="3179" y="7250"/>
                      <a:pt x="3548" y="6615"/>
                    </a:cubicBezTo>
                    <a:cubicBezTo>
                      <a:pt x="3727" y="6305"/>
                      <a:pt x="3724" y="5924"/>
                      <a:pt x="3540" y="5617"/>
                    </a:cubicBezTo>
                    <a:lnTo>
                      <a:pt x="3005" y="4725"/>
                    </a:lnTo>
                    <a:cubicBezTo>
                      <a:pt x="3004" y="4722"/>
                      <a:pt x="3002" y="4718"/>
                      <a:pt x="3000" y="4714"/>
                    </a:cubicBezTo>
                    <a:lnTo>
                      <a:pt x="4715" y="3000"/>
                    </a:lnTo>
                    <a:lnTo>
                      <a:pt x="5621" y="3544"/>
                    </a:lnTo>
                    <a:cubicBezTo>
                      <a:pt x="5777" y="3637"/>
                      <a:pt x="5951" y="3683"/>
                      <a:pt x="6127" y="3683"/>
                    </a:cubicBezTo>
                    <a:cubicBezTo>
                      <a:pt x="6296" y="3683"/>
                      <a:pt x="6465" y="3640"/>
                      <a:pt x="6618" y="3551"/>
                    </a:cubicBezTo>
                    <a:cubicBezTo>
                      <a:pt x="7251" y="3185"/>
                      <a:pt x="7929" y="2904"/>
                      <a:pt x="8632" y="2717"/>
                    </a:cubicBezTo>
                    <a:cubicBezTo>
                      <a:pt x="8976" y="2624"/>
                      <a:pt x="9244" y="2353"/>
                      <a:pt x="9331" y="2007"/>
                    </a:cubicBezTo>
                    <a:lnTo>
                      <a:pt x="9587" y="982"/>
                    </a:lnTo>
                    <a:lnTo>
                      <a:pt x="12012" y="982"/>
                    </a:lnTo>
                    <a:cubicBezTo>
                      <a:pt x="12014" y="986"/>
                      <a:pt x="12015" y="989"/>
                      <a:pt x="12016" y="993"/>
                    </a:cubicBezTo>
                    <a:lnTo>
                      <a:pt x="12269" y="2007"/>
                    </a:lnTo>
                    <a:cubicBezTo>
                      <a:pt x="12356" y="2353"/>
                      <a:pt x="12624" y="2624"/>
                      <a:pt x="12968" y="2717"/>
                    </a:cubicBezTo>
                    <a:cubicBezTo>
                      <a:pt x="13671" y="2904"/>
                      <a:pt x="14348" y="3185"/>
                      <a:pt x="14982" y="3551"/>
                    </a:cubicBezTo>
                    <a:cubicBezTo>
                      <a:pt x="15134" y="3640"/>
                      <a:pt x="15304" y="3683"/>
                      <a:pt x="15473" y="3683"/>
                    </a:cubicBezTo>
                    <a:cubicBezTo>
                      <a:pt x="15648" y="3683"/>
                      <a:pt x="15822" y="3637"/>
                      <a:pt x="15978" y="3544"/>
                    </a:cubicBezTo>
                    <a:lnTo>
                      <a:pt x="16884" y="3000"/>
                    </a:lnTo>
                    <a:lnTo>
                      <a:pt x="18600" y="4714"/>
                    </a:lnTo>
                    <a:cubicBezTo>
                      <a:pt x="18598" y="4718"/>
                      <a:pt x="18597" y="4722"/>
                      <a:pt x="18595" y="4726"/>
                    </a:cubicBezTo>
                    <a:lnTo>
                      <a:pt x="18060" y="5617"/>
                    </a:lnTo>
                    <a:cubicBezTo>
                      <a:pt x="17876" y="5924"/>
                      <a:pt x="17873" y="6305"/>
                      <a:pt x="18053" y="6615"/>
                    </a:cubicBezTo>
                    <a:cubicBezTo>
                      <a:pt x="18421" y="7249"/>
                      <a:pt x="18703" y="7928"/>
                      <a:pt x="18892" y="8634"/>
                    </a:cubicBezTo>
                    <a:cubicBezTo>
                      <a:pt x="18984" y="8979"/>
                      <a:pt x="19256" y="9247"/>
                      <a:pt x="19602" y="9333"/>
                    </a:cubicBezTo>
                    <a:lnTo>
                      <a:pt x="20618" y="9587"/>
                    </a:lnTo>
                    <a:cubicBezTo>
                      <a:pt x="20618" y="9587"/>
                      <a:pt x="20618" y="12013"/>
                      <a:pt x="20618" y="12013"/>
                    </a:cubicBezTo>
                    <a:close/>
                    <a:moveTo>
                      <a:pt x="20880" y="8641"/>
                    </a:moveTo>
                    <a:lnTo>
                      <a:pt x="19841" y="8380"/>
                    </a:lnTo>
                    <a:cubicBezTo>
                      <a:pt x="19626" y="7580"/>
                      <a:pt x="19308" y="6822"/>
                      <a:pt x="18902" y="6122"/>
                    </a:cubicBezTo>
                    <a:lnTo>
                      <a:pt x="19455" y="5201"/>
                    </a:lnTo>
                    <a:cubicBezTo>
                      <a:pt x="19625" y="4871"/>
                      <a:pt x="19736" y="4463"/>
                      <a:pt x="19455" y="4182"/>
                    </a:cubicBezTo>
                    <a:lnTo>
                      <a:pt x="17419" y="2146"/>
                    </a:lnTo>
                    <a:cubicBezTo>
                      <a:pt x="17292" y="2018"/>
                      <a:pt x="17136" y="1968"/>
                      <a:pt x="16975" y="1968"/>
                    </a:cubicBezTo>
                    <a:cubicBezTo>
                      <a:pt x="16778" y="1968"/>
                      <a:pt x="16572" y="2043"/>
                      <a:pt x="16400" y="2146"/>
                    </a:cubicBezTo>
                    <a:lnTo>
                      <a:pt x="15473" y="2702"/>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2"/>
                    </a:cubicBezTo>
                    <a:lnTo>
                      <a:pt x="5200" y="2146"/>
                    </a:lnTo>
                    <a:cubicBezTo>
                      <a:pt x="5028" y="2043"/>
                      <a:pt x="4822" y="1968"/>
                      <a:pt x="4625" y="1968"/>
                    </a:cubicBezTo>
                    <a:cubicBezTo>
                      <a:pt x="4464" y="1968"/>
                      <a:pt x="4308" y="2018"/>
                      <a:pt x="4181" y="2146"/>
                    </a:cubicBezTo>
                    <a:lnTo>
                      <a:pt x="2145" y="4182"/>
                    </a:lnTo>
                    <a:cubicBezTo>
                      <a:pt x="1864" y="4463"/>
                      <a:pt x="1975" y="4871"/>
                      <a:pt x="2145" y="5201"/>
                    </a:cubicBezTo>
                    <a:lnTo>
                      <a:pt x="2698" y="6122"/>
                    </a:lnTo>
                    <a:cubicBezTo>
                      <a:pt x="2292" y="6822"/>
                      <a:pt x="1973" y="7580"/>
                      <a:pt x="1759" y="8380"/>
                    </a:cubicBezTo>
                    <a:lnTo>
                      <a:pt x="720" y="8641"/>
                    </a:lnTo>
                    <a:cubicBezTo>
                      <a:pt x="367" y="8730"/>
                      <a:pt x="0" y="8963"/>
                      <a:pt x="0" y="9361"/>
                    </a:cubicBezTo>
                    <a:lnTo>
                      <a:pt x="0" y="12240"/>
                    </a:lnTo>
                    <a:cubicBezTo>
                      <a:pt x="0" y="12638"/>
                      <a:pt x="367" y="12848"/>
                      <a:pt x="720" y="12960"/>
                    </a:cubicBezTo>
                    <a:lnTo>
                      <a:pt x="1759" y="13220"/>
                    </a:lnTo>
                    <a:cubicBezTo>
                      <a:pt x="1973" y="14021"/>
                      <a:pt x="2292" y="14778"/>
                      <a:pt x="2698" y="15479"/>
                    </a:cubicBezTo>
                    <a:lnTo>
                      <a:pt x="2145" y="16400"/>
                    </a:lnTo>
                    <a:cubicBezTo>
                      <a:pt x="1959" y="16714"/>
                      <a:pt x="1864" y="17138"/>
                      <a:pt x="2145" y="17419"/>
                    </a:cubicBezTo>
                    <a:lnTo>
                      <a:pt x="4181" y="19455"/>
                    </a:lnTo>
                    <a:cubicBezTo>
                      <a:pt x="4305" y="19579"/>
                      <a:pt x="4454" y="19627"/>
                      <a:pt x="4610" y="19627"/>
                    </a:cubicBezTo>
                    <a:cubicBezTo>
                      <a:pt x="4807" y="19627"/>
                      <a:pt x="5016" y="19550"/>
                      <a:pt x="5200" y="19455"/>
                    </a:cubicBezTo>
                    <a:lnTo>
                      <a:pt x="6127" y="18899"/>
                    </a:lnTo>
                    <a:cubicBezTo>
                      <a:pt x="6825" y="19303"/>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3"/>
                      <a:pt x="15473" y="18899"/>
                    </a:cubicBezTo>
                    <a:lnTo>
                      <a:pt x="16400" y="19455"/>
                    </a:lnTo>
                    <a:cubicBezTo>
                      <a:pt x="16584" y="19550"/>
                      <a:pt x="16793" y="19627"/>
                      <a:pt x="16990" y="19627"/>
                    </a:cubicBezTo>
                    <a:cubicBezTo>
                      <a:pt x="17146" y="19627"/>
                      <a:pt x="17294" y="19579"/>
                      <a:pt x="17419" y="19455"/>
                    </a:cubicBezTo>
                    <a:lnTo>
                      <a:pt x="19455" y="17419"/>
                    </a:lnTo>
                    <a:cubicBezTo>
                      <a:pt x="19736" y="17138"/>
                      <a:pt x="19641" y="16714"/>
                      <a:pt x="19455" y="16400"/>
                    </a:cubicBezTo>
                    <a:lnTo>
                      <a:pt x="18902" y="15479"/>
                    </a:lnTo>
                    <a:cubicBezTo>
                      <a:pt x="19308" y="14778"/>
                      <a:pt x="19626" y="14021"/>
                      <a:pt x="19841" y="13220"/>
                    </a:cubicBezTo>
                    <a:lnTo>
                      <a:pt x="20880" y="12960"/>
                    </a:lnTo>
                    <a:cubicBezTo>
                      <a:pt x="21233" y="12848"/>
                      <a:pt x="21600" y="12638"/>
                      <a:pt x="21600" y="12240"/>
                    </a:cubicBezTo>
                    <a:lnTo>
                      <a:pt x="21600" y="9361"/>
                    </a:lnTo>
                    <a:cubicBezTo>
                      <a:pt x="21600" y="8963"/>
                      <a:pt x="21233" y="8730"/>
                      <a:pt x="20880" y="8641"/>
                    </a:cubicBezTo>
                  </a:path>
                </a:pathLst>
              </a:custGeom>
              <a:solidFill>
                <a:schemeClr val="bg1"/>
              </a:solidFill>
              <a:ln w="12700">
                <a:miter lim="400000"/>
              </a:ln>
            </p:spPr>
            <p:txBody>
              <a:bodyPr lIns="38100" tIns="38100" rIns="38100" bIns="38100" anchor="ctr"/>
              <a:lstStyle/>
              <a:p>
                <a:endParaRPr>
                  <a:solidFill>
                    <a:prstClr val="black"/>
                  </a:solidFill>
                </a:endParaRPr>
              </a:p>
            </p:txBody>
          </p:sp>
          <p:sp>
            <p:nvSpPr>
              <p:cNvPr id="19" name="Shape 3675">
                <a:extLst>
                  <a:ext uri="{FF2B5EF4-FFF2-40B4-BE49-F238E27FC236}">
                    <a16:creationId xmlns:a16="http://schemas.microsoft.com/office/drawing/2014/main" id="{53AAD5B8-88E8-640B-A452-E820302CDF07}"/>
                  </a:ext>
                </a:extLst>
              </p:cNvPr>
              <p:cNvSpPr/>
              <p:nvPr/>
            </p:nvSpPr>
            <p:spPr>
              <a:xfrm>
                <a:off x="5891840" y="1440272"/>
                <a:ext cx="406003" cy="332184"/>
              </a:xfrm>
              <a:custGeom>
                <a:avLst/>
                <a:gdLst/>
                <a:ahLst/>
                <a:cxnLst>
                  <a:cxn ang="0">
                    <a:pos x="wd2" y="hd2"/>
                  </a:cxn>
                  <a:cxn ang="5400000">
                    <a:pos x="wd2" y="hd2"/>
                  </a:cxn>
                  <a:cxn ang="10800000">
                    <a:pos x="wd2" y="hd2"/>
                  </a:cxn>
                  <a:cxn ang="16200000">
                    <a:pos x="wd2" y="hd2"/>
                  </a:cxn>
                </a:cxnLst>
                <a:rect l="0" t="0" r="r" b="b"/>
                <a:pathLst>
                  <a:path w="21600" h="21600" extrusionOk="0">
                    <a:moveTo>
                      <a:pt x="5400" y="6001"/>
                    </a:moveTo>
                    <a:lnTo>
                      <a:pt x="8345" y="6001"/>
                    </a:lnTo>
                    <a:cubicBezTo>
                      <a:pt x="8617" y="6001"/>
                      <a:pt x="8836" y="5732"/>
                      <a:pt x="8836" y="5400"/>
                    </a:cubicBezTo>
                    <a:cubicBezTo>
                      <a:pt x="8836" y="5070"/>
                      <a:pt x="8617" y="4800"/>
                      <a:pt x="8345" y="4800"/>
                    </a:cubicBezTo>
                    <a:lnTo>
                      <a:pt x="5400" y="4800"/>
                    </a:lnTo>
                    <a:cubicBezTo>
                      <a:pt x="5129" y="4800"/>
                      <a:pt x="4909" y="5070"/>
                      <a:pt x="4909" y="5400"/>
                    </a:cubicBezTo>
                    <a:cubicBezTo>
                      <a:pt x="4909" y="5732"/>
                      <a:pt x="5129" y="6001"/>
                      <a:pt x="5400" y="6001"/>
                    </a:cubicBezTo>
                    <a:moveTo>
                      <a:pt x="20618" y="20400"/>
                    </a:moveTo>
                    <a:lnTo>
                      <a:pt x="18655" y="20400"/>
                    </a:lnTo>
                    <a:lnTo>
                      <a:pt x="18655" y="18000"/>
                    </a:lnTo>
                    <a:cubicBezTo>
                      <a:pt x="18926" y="18000"/>
                      <a:pt x="19145" y="17732"/>
                      <a:pt x="19145" y="17400"/>
                    </a:cubicBezTo>
                    <a:cubicBezTo>
                      <a:pt x="19145" y="17070"/>
                      <a:pt x="18926" y="16801"/>
                      <a:pt x="18655" y="16801"/>
                    </a:cubicBezTo>
                    <a:lnTo>
                      <a:pt x="18655" y="3601"/>
                    </a:lnTo>
                    <a:lnTo>
                      <a:pt x="20618" y="3601"/>
                    </a:lnTo>
                    <a:cubicBezTo>
                      <a:pt x="20618" y="3601"/>
                      <a:pt x="20618" y="20400"/>
                      <a:pt x="20618" y="20400"/>
                    </a:cubicBezTo>
                    <a:close/>
                    <a:moveTo>
                      <a:pt x="17673" y="16801"/>
                    </a:moveTo>
                    <a:cubicBezTo>
                      <a:pt x="17401" y="16801"/>
                      <a:pt x="17182" y="17070"/>
                      <a:pt x="17182" y="17400"/>
                    </a:cubicBezTo>
                    <a:cubicBezTo>
                      <a:pt x="17182" y="17732"/>
                      <a:pt x="17401" y="18000"/>
                      <a:pt x="17673" y="18000"/>
                    </a:cubicBezTo>
                    <a:lnTo>
                      <a:pt x="17673" y="20400"/>
                    </a:lnTo>
                    <a:lnTo>
                      <a:pt x="3927" y="20400"/>
                    </a:lnTo>
                    <a:lnTo>
                      <a:pt x="3927" y="18000"/>
                    </a:lnTo>
                    <a:cubicBezTo>
                      <a:pt x="4199" y="18000"/>
                      <a:pt x="4418" y="17732"/>
                      <a:pt x="4418" y="17400"/>
                    </a:cubicBezTo>
                    <a:cubicBezTo>
                      <a:pt x="4418" y="17070"/>
                      <a:pt x="4199" y="16801"/>
                      <a:pt x="3927" y="16801"/>
                    </a:cubicBezTo>
                    <a:lnTo>
                      <a:pt x="3927" y="3601"/>
                    </a:lnTo>
                    <a:lnTo>
                      <a:pt x="17673" y="3601"/>
                    </a:lnTo>
                    <a:cubicBezTo>
                      <a:pt x="17673" y="3601"/>
                      <a:pt x="17673" y="16801"/>
                      <a:pt x="17673" y="16801"/>
                    </a:cubicBezTo>
                    <a:close/>
                    <a:moveTo>
                      <a:pt x="2945" y="16801"/>
                    </a:moveTo>
                    <a:cubicBezTo>
                      <a:pt x="2674" y="16801"/>
                      <a:pt x="2455" y="17070"/>
                      <a:pt x="2455" y="17400"/>
                    </a:cubicBezTo>
                    <a:cubicBezTo>
                      <a:pt x="2455" y="17732"/>
                      <a:pt x="2674" y="18000"/>
                      <a:pt x="2945" y="18000"/>
                    </a:cubicBezTo>
                    <a:lnTo>
                      <a:pt x="2945" y="20400"/>
                    </a:lnTo>
                    <a:lnTo>
                      <a:pt x="982" y="20400"/>
                    </a:lnTo>
                    <a:lnTo>
                      <a:pt x="982" y="3601"/>
                    </a:lnTo>
                    <a:lnTo>
                      <a:pt x="2945" y="3601"/>
                    </a:lnTo>
                    <a:cubicBezTo>
                      <a:pt x="2945" y="3601"/>
                      <a:pt x="2945" y="16801"/>
                      <a:pt x="2945" y="16801"/>
                    </a:cubicBezTo>
                    <a:close/>
                    <a:moveTo>
                      <a:pt x="8836" y="1200"/>
                    </a:moveTo>
                    <a:lnTo>
                      <a:pt x="12764" y="1200"/>
                    </a:lnTo>
                    <a:cubicBezTo>
                      <a:pt x="13305" y="1200"/>
                      <a:pt x="13745" y="1738"/>
                      <a:pt x="13745" y="2400"/>
                    </a:cubicBezTo>
                    <a:lnTo>
                      <a:pt x="7855" y="2400"/>
                    </a:lnTo>
                    <a:cubicBezTo>
                      <a:pt x="7855" y="1738"/>
                      <a:pt x="8295" y="1200"/>
                      <a:pt x="8836" y="1200"/>
                    </a:cubicBezTo>
                    <a:moveTo>
                      <a:pt x="20618" y="2400"/>
                    </a:moveTo>
                    <a:lnTo>
                      <a:pt x="14727" y="2400"/>
                    </a:lnTo>
                    <a:cubicBezTo>
                      <a:pt x="14727" y="1075"/>
                      <a:pt x="13848" y="0"/>
                      <a:pt x="12764" y="0"/>
                    </a:cubicBezTo>
                    <a:lnTo>
                      <a:pt x="8836" y="0"/>
                    </a:lnTo>
                    <a:cubicBezTo>
                      <a:pt x="7752" y="0"/>
                      <a:pt x="6873" y="1075"/>
                      <a:pt x="6873" y="2400"/>
                    </a:cubicBezTo>
                    <a:lnTo>
                      <a:pt x="982" y="2400"/>
                    </a:lnTo>
                    <a:cubicBezTo>
                      <a:pt x="439" y="2400"/>
                      <a:pt x="0" y="2938"/>
                      <a:pt x="0" y="3601"/>
                    </a:cubicBezTo>
                    <a:lnTo>
                      <a:pt x="0" y="20400"/>
                    </a:lnTo>
                    <a:cubicBezTo>
                      <a:pt x="0" y="21063"/>
                      <a:pt x="439" y="21600"/>
                      <a:pt x="982" y="21600"/>
                    </a:cubicBezTo>
                    <a:lnTo>
                      <a:pt x="20618" y="21600"/>
                    </a:lnTo>
                    <a:cubicBezTo>
                      <a:pt x="21160" y="21600"/>
                      <a:pt x="21600" y="21063"/>
                      <a:pt x="21600" y="20400"/>
                    </a:cubicBezTo>
                    <a:lnTo>
                      <a:pt x="21600" y="3601"/>
                    </a:lnTo>
                    <a:cubicBezTo>
                      <a:pt x="21600" y="2938"/>
                      <a:pt x="21160" y="2400"/>
                      <a:pt x="20618" y="2400"/>
                    </a:cubicBezTo>
                    <a:moveTo>
                      <a:pt x="5400" y="8400"/>
                    </a:moveTo>
                    <a:lnTo>
                      <a:pt x="6382" y="8400"/>
                    </a:lnTo>
                    <a:cubicBezTo>
                      <a:pt x="6653" y="8400"/>
                      <a:pt x="6873" y="8132"/>
                      <a:pt x="6873" y="7800"/>
                    </a:cubicBezTo>
                    <a:cubicBezTo>
                      <a:pt x="6873" y="7470"/>
                      <a:pt x="6653" y="7200"/>
                      <a:pt x="6382" y="7200"/>
                    </a:cubicBezTo>
                    <a:lnTo>
                      <a:pt x="5400" y="7200"/>
                    </a:lnTo>
                    <a:cubicBezTo>
                      <a:pt x="5129" y="7200"/>
                      <a:pt x="4909" y="7470"/>
                      <a:pt x="4909" y="7800"/>
                    </a:cubicBezTo>
                    <a:cubicBezTo>
                      <a:pt x="4909" y="8132"/>
                      <a:pt x="5129" y="8400"/>
                      <a:pt x="5400" y="8400"/>
                    </a:cubicBezTo>
                  </a:path>
                </a:pathLst>
              </a:custGeom>
              <a:solidFill>
                <a:schemeClr val="bg1"/>
              </a:solidFill>
              <a:ln w="12700">
                <a:miter lim="400000"/>
              </a:ln>
            </p:spPr>
            <p:txBody>
              <a:bodyPr lIns="38100" tIns="38100" rIns="38100" bIns="38100" anchor="ctr"/>
              <a:lstStyle/>
              <a:p>
                <a:endParaRPr>
                  <a:solidFill>
                    <a:prstClr val="black"/>
                  </a:solidFill>
                </a:endParaRPr>
              </a:p>
            </p:txBody>
          </p:sp>
          <p:sp>
            <p:nvSpPr>
              <p:cNvPr id="20" name="Shape 3690">
                <a:extLst>
                  <a:ext uri="{FF2B5EF4-FFF2-40B4-BE49-F238E27FC236}">
                    <a16:creationId xmlns:a16="http://schemas.microsoft.com/office/drawing/2014/main" id="{C08CDABB-74B1-3C40-AE47-EF9B75C43D43}"/>
                  </a:ext>
                </a:extLst>
              </p:cNvPr>
              <p:cNvSpPr/>
              <p:nvPr/>
            </p:nvSpPr>
            <p:spPr>
              <a:xfrm>
                <a:off x="7489014" y="4157196"/>
                <a:ext cx="406003" cy="332220"/>
              </a:xfrm>
              <a:custGeom>
                <a:avLst/>
                <a:gdLst/>
                <a:ahLst/>
                <a:cxnLst>
                  <a:cxn ang="0">
                    <a:pos x="wd2" y="hd2"/>
                  </a:cxn>
                  <a:cxn ang="5400000">
                    <a:pos x="wd2" y="hd2"/>
                  </a:cxn>
                  <a:cxn ang="10800000">
                    <a:pos x="wd2" y="hd2"/>
                  </a:cxn>
                  <a:cxn ang="16200000">
                    <a:pos x="wd2" y="hd2"/>
                  </a:cxn>
                </a:cxnLst>
                <a:rect l="0" t="0" r="r" b="b"/>
                <a:pathLst>
                  <a:path w="21600" h="21600" extrusionOk="0">
                    <a:moveTo>
                      <a:pt x="4457" y="20400"/>
                    </a:moveTo>
                    <a:cubicBezTo>
                      <a:pt x="4686" y="18710"/>
                      <a:pt x="5897" y="18036"/>
                      <a:pt x="7134" y="17493"/>
                    </a:cubicBezTo>
                    <a:lnTo>
                      <a:pt x="7173" y="17477"/>
                    </a:lnTo>
                    <a:cubicBezTo>
                      <a:pt x="8055" y="17190"/>
                      <a:pt x="9626" y="16039"/>
                      <a:pt x="9626" y="13569"/>
                    </a:cubicBezTo>
                    <a:cubicBezTo>
                      <a:pt x="9626" y="11474"/>
                      <a:pt x="8932" y="10452"/>
                      <a:pt x="8558" y="9902"/>
                    </a:cubicBezTo>
                    <a:cubicBezTo>
                      <a:pt x="8484" y="9791"/>
                      <a:pt x="8394" y="9649"/>
                      <a:pt x="8414" y="9680"/>
                    </a:cubicBezTo>
                    <a:cubicBezTo>
                      <a:pt x="8384" y="9599"/>
                      <a:pt x="8237" y="9129"/>
                      <a:pt x="8449" y="8035"/>
                    </a:cubicBezTo>
                    <a:cubicBezTo>
                      <a:pt x="8549" y="7523"/>
                      <a:pt x="8380" y="7241"/>
                      <a:pt x="8380" y="7241"/>
                    </a:cubicBezTo>
                    <a:cubicBezTo>
                      <a:pt x="8112" y="6504"/>
                      <a:pt x="7614" y="5133"/>
                      <a:pt x="7988" y="4025"/>
                    </a:cubicBezTo>
                    <a:cubicBezTo>
                      <a:pt x="8490" y="2492"/>
                      <a:pt x="8935" y="2190"/>
                      <a:pt x="9741" y="1747"/>
                    </a:cubicBezTo>
                    <a:cubicBezTo>
                      <a:pt x="9788" y="1721"/>
                      <a:pt x="9834" y="1692"/>
                      <a:pt x="9877" y="1657"/>
                    </a:cubicBezTo>
                    <a:cubicBezTo>
                      <a:pt x="10029" y="1535"/>
                      <a:pt x="10674" y="1200"/>
                      <a:pt x="11403" y="1200"/>
                    </a:cubicBezTo>
                    <a:cubicBezTo>
                      <a:pt x="11768" y="1200"/>
                      <a:pt x="12075" y="1285"/>
                      <a:pt x="12318" y="1454"/>
                    </a:cubicBezTo>
                    <a:cubicBezTo>
                      <a:pt x="12610" y="1656"/>
                      <a:pt x="12890" y="2039"/>
                      <a:pt x="13313" y="3272"/>
                    </a:cubicBezTo>
                    <a:cubicBezTo>
                      <a:pt x="14101" y="5469"/>
                      <a:pt x="13602" y="6698"/>
                      <a:pt x="13350" y="7124"/>
                    </a:cubicBezTo>
                    <a:cubicBezTo>
                      <a:pt x="13183" y="7407"/>
                      <a:pt x="13126" y="7764"/>
                      <a:pt x="13191" y="8103"/>
                    </a:cubicBezTo>
                    <a:cubicBezTo>
                      <a:pt x="13386" y="9109"/>
                      <a:pt x="13260" y="9535"/>
                      <a:pt x="13227" y="9619"/>
                    </a:cubicBezTo>
                    <a:cubicBezTo>
                      <a:pt x="13219" y="9631"/>
                      <a:pt x="13101" y="9813"/>
                      <a:pt x="13041" y="9902"/>
                    </a:cubicBezTo>
                    <a:cubicBezTo>
                      <a:pt x="12668" y="10452"/>
                      <a:pt x="11973" y="11474"/>
                      <a:pt x="11973" y="13569"/>
                    </a:cubicBezTo>
                    <a:cubicBezTo>
                      <a:pt x="11973" y="16039"/>
                      <a:pt x="13545" y="17190"/>
                      <a:pt x="14427" y="17477"/>
                    </a:cubicBezTo>
                    <a:lnTo>
                      <a:pt x="14466" y="17493"/>
                    </a:lnTo>
                    <a:cubicBezTo>
                      <a:pt x="15703" y="18036"/>
                      <a:pt x="16914" y="18710"/>
                      <a:pt x="17143" y="20400"/>
                    </a:cubicBezTo>
                    <a:cubicBezTo>
                      <a:pt x="17143" y="20400"/>
                      <a:pt x="4457" y="20400"/>
                      <a:pt x="4457" y="20400"/>
                    </a:cubicBezTo>
                    <a:close/>
                    <a:moveTo>
                      <a:pt x="14715" y="16328"/>
                    </a:moveTo>
                    <a:cubicBezTo>
                      <a:pt x="14715" y="16328"/>
                      <a:pt x="12955" y="15815"/>
                      <a:pt x="12955" y="13569"/>
                    </a:cubicBezTo>
                    <a:cubicBezTo>
                      <a:pt x="12955" y="11596"/>
                      <a:pt x="13678" y="10901"/>
                      <a:pt x="13957" y="10422"/>
                    </a:cubicBezTo>
                    <a:cubicBezTo>
                      <a:pt x="13957" y="10422"/>
                      <a:pt x="14531" y="9808"/>
                      <a:pt x="14146" y="7826"/>
                    </a:cubicBezTo>
                    <a:cubicBezTo>
                      <a:pt x="14787" y="6740"/>
                      <a:pt x="14995" y="4972"/>
                      <a:pt x="14211" y="2789"/>
                    </a:cubicBezTo>
                    <a:cubicBezTo>
                      <a:pt x="13774" y="1514"/>
                      <a:pt x="13389" y="814"/>
                      <a:pt x="12801" y="409"/>
                    </a:cubicBezTo>
                    <a:cubicBezTo>
                      <a:pt x="12370" y="110"/>
                      <a:pt x="11880" y="0"/>
                      <a:pt x="11403" y="0"/>
                    </a:cubicBezTo>
                    <a:cubicBezTo>
                      <a:pt x="10516" y="0"/>
                      <a:pt x="9675" y="384"/>
                      <a:pt x="9339" y="653"/>
                    </a:cubicBezTo>
                    <a:cubicBezTo>
                      <a:pt x="8357" y="1192"/>
                      <a:pt x="7697" y="1688"/>
                      <a:pt x="7077" y="3580"/>
                    </a:cubicBezTo>
                    <a:cubicBezTo>
                      <a:pt x="6540" y="5169"/>
                      <a:pt x="7179" y="6892"/>
                      <a:pt x="7494" y="7758"/>
                    </a:cubicBezTo>
                    <a:cubicBezTo>
                      <a:pt x="7110" y="9740"/>
                      <a:pt x="7642" y="10422"/>
                      <a:pt x="7642" y="10422"/>
                    </a:cubicBezTo>
                    <a:cubicBezTo>
                      <a:pt x="7922" y="10901"/>
                      <a:pt x="8644" y="11596"/>
                      <a:pt x="8644" y="13569"/>
                    </a:cubicBezTo>
                    <a:cubicBezTo>
                      <a:pt x="8644" y="15815"/>
                      <a:pt x="6885" y="16328"/>
                      <a:pt x="6885" y="16328"/>
                    </a:cubicBezTo>
                    <a:cubicBezTo>
                      <a:pt x="5768" y="16819"/>
                      <a:pt x="3436" y="17760"/>
                      <a:pt x="3436" y="21000"/>
                    </a:cubicBezTo>
                    <a:cubicBezTo>
                      <a:pt x="3436" y="21000"/>
                      <a:pt x="3436" y="21600"/>
                      <a:pt x="3927" y="21600"/>
                    </a:cubicBezTo>
                    <a:lnTo>
                      <a:pt x="17673" y="21600"/>
                    </a:lnTo>
                    <a:cubicBezTo>
                      <a:pt x="18164" y="21600"/>
                      <a:pt x="18164" y="21000"/>
                      <a:pt x="18164" y="21000"/>
                    </a:cubicBezTo>
                    <a:cubicBezTo>
                      <a:pt x="18164" y="17760"/>
                      <a:pt x="15832" y="16819"/>
                      <a:pt x="14715" y="16328"/>
                    </a:cubicBezTo>
                    <a:moveTo>
                      <a:pt x="19516" y="15007"/>
                    </a:moveTo>
                    <a:cubicBezTo>
                      <a:pt x="19516" y="15007"/>
                      <a:pt x="18416" y="14701"/>
                      <a:pt x="18416" y="12954"/>
                    </a:cubicBezTo>
                    <a:cubicBezTo>
                      <a:pt x="18416" y="11419"/>
                      <a:pt x="18794" y="10879"/>
                      <a:pt x="19017" y="10506"/>
                    </a:cubicBezTo>
                    <a:cubicBezTo>
                      <a:pt x="19017" y="10506"/>
                      <a:pt x="19443" y="9975"/>
                      <a:pt x="19136" y="8434"/>
                    </a:cubicBezTo>
                    <a:cubicBezTo>
                      <a:pt x="19388" y="7760"/>
                      <a:pt x="19900" y="6420"/>
                      <a:pt x="19470" y="5184"/>
                    </a:cubicBezTo>
                    <a:cubicBezTo>
                      <a:pt x="18974" y="3713"/>
                      <a:pt x="18645" y="3327"/>
                      <a:pt x="17860" y="2908"/>
                    </a:cubicBezTo>
                    <a:cubicBezTo>
                      <a:pt x="17591" y="2699"/>
                      <a:pt x="16918" y="2400"/>
                      <a:pt x="16208" y="2400"/>
                    </a:cubicBezTo>
                    <a:cubicBezTo>
                      <a:pt x="15873" y="2400"/>
                      <a:pt x="15531" y="2474"/>
                      <a:pt x="15218" y="2647"/>
                    </a:cubicBezTo>
                    <a:cubicBezTo>
                      <a:pt x="15343" y="3035"/>
                      <a:pt x="15449" y="3420"/>
                      <a:pt x="15525" y="3799"/>
                    </a:cubicBezTo>
                    <a:cubicBezTo>
                      <a:pt x="15537" y="3791"/>
                      <a:pt x="15550" y="3779"/>
                      <a:pt x="15563" y="3770"/>
                    </a:cubicBezTo>
                    <a:cubicBezTo>
                      <a:pt x="15730" y="3657"/>
                      <a:pt x="15948" y="3600"/>
                      <a:pt x="16208" y="3600"/>
                    </a:cubicBezTo>
                    <a:cubicBezTo>
                      <a:pt x="16716" y="3600"/>
                      <a:pt x="17211" y="3826"/>
                      <a:pt x="17332" y="3919"/>
                    </a:cubicBezTo>
                    <a:cubicBezTo>
                      <a:pt x="17375" y="3953"/>
                      <a:pt x="17421" y="3983"/>
                      <a:pt x="17467" y="4007"/>
                    </a:cubicBezTo>
                    <a:cubicBezTo>
                      <a:pt x="17950" y="4265"/>
                      <a:pt x="18131" y="4361"/>
                      <a:pt x="18562" y="5641"/>
                    </a:cubicBezTo>
                    <a:cubicBezTo>
                      <a:pt x="18822" y="6387"/>
                      <a:pt x="18452" y="7378"/>
                      <a:pt x="18253" y="7910"/>
                    </a:cubicBezTo>
                    <a:cubicBezTo>
                      <a:pt x="18161" y="8155"/>
                      <a:pt x="18130" y="8457"/>
                      <a:pt x="18182" y="8719"/>
                    </a:cubicBezTo>
                    <a:cubicBezTo>
                      <a:pt x="18316" y="9392"/>
                      <a:pt x="18254" y="9707"/>
                      <a:pt x="18232" y="9784"/>
                    </a:cubicBezTo>
                    <a:cubicBezTo>
                      <a:pt x="18230" y="9789"/>
                      <a:pt x="18227" y="9793"/>
                      <a:pt x="18224" y="9798"/>
                    </a:cubicBezTo>
                    <a:lnTo>
                      <a:pt x="18191" y="9853"/>
                    </a:lnTo>
                    <a:cubicBezTo>
                      <a:pt x="17926" y="10290"/>
                      <a:pt x="17434" y="11106"/>
                      <a:pt x="17434" y="12954"/>
                    </a:cubicBezTo>
                    <a:cubicBezTo>
                      <a:pt x="17434" y="15019"/>
                      <a:pt x="18570" y="15932"/>
                      <a:pt x="19229" y="16155"/>
                    </a:cubicBezTo>
                    <a:cubicBezTo>
                      <a:pt x="19856" y="16429"/>
                      <a:pt x="20435" y="16859"/>
                      <a:pt x="20582" y="17999"/>
                    </a:cubicBezTo>
                    <a:lnTo>
                      <a:pt x="18459" y="18000"/>
                    </a:lnTo>
                    <a:cubicBezTo>
                      <a:pt x="18647" y="18353"/>
                      <a:pt x="18802" y="18755"/>
                      <a:pt x="18920" y="19200"/>
                    </a:cubicBezTo>
                    <a:lnTo>
                      <a:pt x="21109" y="19199"/>
                    </a:lnTo>
                    <a:cubicBezTo>
                      <a:pt x="21600" y="19199"/>
                      <a:pt x="21600" y="18599"/>
                      <a:pt x="21600" y="18599"/>
                    </a:cubicBezTo>
                    <a:cubicBezTo>
                      <a:pt x="21600" y="16199"/>
                      <a:pt x="20410" y="15387"/>
                      <a:pt x="19516" y="15007"/>
                    </a:cubicBezTo>
                    <a:moveTo>
                      <a:pt x="2371" y="16155"/>
                    </a:moveTo>
                    <a:cubicBezTo>
                      <a:pt x="3030" y="15932"/>
                      <a:pt x="4166" y="15019"/>
                      <a:pt x="4166" y="12954"/>
                    </a:cubicBezTo>
                    <a:cubicBezTo>
                      <a:pt x="4166" y="11106"/>
                      <a:pt x="3673" y="10290"/>
                      <a:pt x="3409" y="9853"/>
                    </a:cubicBezTo>
                    <a:lnTo>
                      <a:pt x="3376" y="9798"/>
                    </a:lnTo>
                    <a:cubicBezTo>
                      <a:pt x="3373" y="9793"/>
                      <a:pt x="3370" y="9789"/>
                      <a:pt x="3367" y="9784"/>
                    </a:cubicBezTo>
                    <a:cubicBezTo>
                      <a:pt x="3346" y="9707"/>
                      <a:pt x="3283" y="9392"/>
                      <a:pt x="3418" y="8719"/>
                    </a:cubicBezTo>
                    <a:cubicBezTo>
                      <a:pt x="3470" y="8457"/>
                      <a:pt x="3439" y="8155"/>
                      <a:pt x="3347" y="7910"/>
                    </a:cubicBezTo>
                    <a:cubicBezTo>
                      <a:pt x="3148" y="7378"/>
                      <a:pt x="2778" y="6387"/>
                      <a:pt x="3038" y="5641"/>
                    </a:cubicBezTo>
                    <a:cubicBezTo>
                      <a:pt x="3469" y="4361"/>
                      <a:pt x="3649" y="4265"/>
                      <a:pt x="4133" y="4007"/>
                    </a:cubicBezTo>
                    <a:cubicBezTo>
                      <a:pt x="4180" y="3983"/>
                      <a:pt x="4225" y="3953"/>
                      <a:pt x="4268" y="3919"/>
                    </a:cubicBezTo>
                    <a:cubicBezTo>
                      <a:pt x="4389" y="3826"/>
                      <a:pt x="4884" y="3600"/>
                      <a:pt x="5392" y="3600"/>
                    </a:cubicBezTo>
                    <a:cubicBezTo>
                      <a:pt x="5636" y="3600"/>
                      <a:pt x="5839" y="3655"/>
                      <a:pt x="6002" y="3754"/>
                    </a:cubicBezTo>
                    <a:cubicBezTo>
                      <a:pt x="6045" y="3548"/>
                      <a:pt x="6096" y="3341"/>
                      <a:pt x="6165" y="3133"/>
                    </a:cubicBezTo>
                    <a:cubicBezTo>
                      <a:pt x="6225" y="2950"/>
                      <a:pt x="6289" y="2793"/>
                      <a:pt x="6351" y="2631"/>
                    </a:cubicBezTo>
                    <a:cubicBezTo>
                      <a:pt x="6046" y="2469"/>
                      <a:pt x="5716" y="2400"/>
                      <a:pt x="5392" y="2400"/>
                    </a:cubicBezTo>
                    <a:cubicBezTo>
                      <a:pt x="4682" y="2400"/>
                      <a:pt x="4009" y="2699"/>
                      <a:pt x="3740" y="2908"/>
                    </a:cubicBezTo>
                    <a:cubicBezTo>
                      <a:pt x="2955" y="3327"/>
                      <a:pt x="2625" y="3713"/>
                      <a:pt x="2130" y="5184"/>
                    </a:cubicBezTo>
                    <a:cubicBezTo>
                      <a:pt x="1700" y="6420"/>
                      <a:pt x="2212" y="7760"/>
                      <a:pt x="2464" y="8434"/>
                    </a:cubicBezTo>
                    <a:cubicBezTo>
                      <a:pt x="2156" y="9975"/>
                      <a:pt x="2583" y="10506"/>
                      <a:pt x="2583" y="10506"/>
                    </a:cubicBezTo>
                    <a:cubicBezTo>
                      <a:pt x="2806" y="10879"/>
                      <a:pt x="3185" y="11419"/>
                      <a:pt x="3185" y="12954"/>
                    </a:cubicBezTo>
                    <a:cubicBezTo>
                      <a:pt x="3185" y="14701"/>
                      <a:pt x="2084" y="15007"/>
                      <a:pt x="2084" y="15007"/>
                    </a:cubicBezTo>
                    <a:cubicBezTo>
                      <a:pt x="1191" y="15387"/>
                      <a:pt x="0" y="16199"/>
                      <a:pt x="0" y="18599"/>
                    </a:cubicBezTo>
                    <a:cubicBezTo>
                      <a:pt x="0" y="18599"/>
                      <a:pt x="0" y="19199"/>
                      <a:pt x="491" y="19199"/>
                    </a:cubicBezTo>
                    <a:lnTo>
                      <a:pt x="2680" y="19200"/>
                    </a:lnTo>
                    <a:cubicBezTo>
                      <a:pt x="2798" y="18755"/>
                      <a:pt x="2952" y="18353"/>
                      <a:pt x="3141" y="18000"/>
                    </a:cubicBezTo>
                    <a:lnTo>
                      <a:pt x="1018" y="17999"/>
                    </a:lnTo>
                    <a:cubicBezTo>
                      <a:pt x="1165" y="16859"/>
                      <a:pt x="1744" y="16429"/>
                      <a:pt x="2371" y="16155"/>
                    </a:cubicBezTo>
                  </a:path>
                </a:pathLst>
              </a:custGeom>
              <a:solidFill>
                <a:schemeClr val="bg1"/>
              </a:solidFill>
              <a:ln w="12700">
                <a:miter lim="400000"/>
              </a:ln>
            </p:spPr>
            <p:txBody>
              <a:bodyPr lIns="38100" tIns="38100" rIns="38100" bIns="38100" anchor="ctr"/>
              <a:lstStyle/>
              <a:p>
                <a:endParaRPr>
                  <a:solidFill>
                    <a:prstClr val="black"/>
                  </a:solidFill>
                </a:endParaRPr>
              </a:p>
            </p:txBody>
          </p:sp>
          <p:sp>
            <p:nvSpPr>
              <p:cNvPr id="21" name="Shape 3784">
                <a:extLst>
                  <a:ext uri="{FF2B5EF4-FFF2-40B4-BE49-F238E27FC236}">
                    <a16:creationId xmlns:a16="http://schemas.microsoft.com/office/drawing/2014/main" id="{FEA62AD9-F82B-A9D2-5BC3-B4888FAAF262}"/>
                  </a:ext>
                </a:extLst>
              </p:cNvPr>
              <p:cNvSpPr/>
              <p:nvPr/>
            </p:nvSpPr>
            <p:spPr>
              <a:xfrm>
                <a:off x="5909799" y="5040647"/>
                <a:ext cx="406003" cy="406003"/>
              </a:xfrm>
              <a:custGeom>
                <a:avLst/>
                <a:gdLst/>
                <a:ahLst/>
                <a:cxnLst>
                  <a:cxn ang="0">
                    <a:pos x="wd2" y="hd2"/>
                  </a:cxn>
                  <a:cxn ang="5400000">
                    <a:pos x="wd2" y="hd2"/>
                  </a:cxn>
                  <a:cxn ang="10800000">
                    <a:pos x="wd2" y="hd2"/>
                  </a:cxn>
                  <a:cxn ang="16200000">
                    <a:pos x="wd2" y="hd2"/>
                  </a:cxn>
                </a:cxnLst>
                <a:rect l="0" t="0" r="r" b="b"/>
                <a:pathLst>
                  <a:path w="21600" h="21600" extrusionOk="0">
                    <a:moveTo>
                      <a:pt x="10800" y="8345"/>
                    </a:moveTo>
                    <a:cubicBezTo>
                      <a:pt x="9444" y="8345"/>
                      <a:pt x="8345" y="9444"/>
                      <a:pt x="8345" y="10800"/>
                    </a:cubicBezTo>
                    <a:cubicBezTo>
                      <a:pt x="8345" y="12156"/>
                      <a:pt x="9444" y="13255"/>
                      <a:pt x="10800" y="13255"/>
                    </a:cubicBezTo>
                    <a:cubicBezTo>
                      <a:pt x="12156" y="13255"/>
                      <a:pt x="13255" y="12156"/>
                      <a:pt x="13255" y="10800"/>
                    </a:cubicBezTo>
                    <a:cubicBezTo>
                      <a:pt x="13255" y="9444"/>
                      <a:pt x="12156" y="8345"/>
                      <a:pt x="10800" y="8345"/>
                    </a:cubicBezTo>
                    <a:moveTo>
                      <a:pt x="11291" y="20593"/>
                    </a:moveTo>
                    <a:lnTo>
                      <a:pt x="11291" y="17182"/>
                    </a:lnTo>
                    <a:cubicBezTo>
                      <a:pt x="11291" y="16910"/>
                      <a:pt x="11071" y="16691"/>
                      <a:pt x="10800" y="16691"/>
                    </a:cubicBezTo>
                    <a:cubicBezTo>
                      <a:pt x="10529" y="16691"/>
                      <a:pt x="10309" y="16910"/>
                      <a:pt x="10309" y="17182"/>
                    </a:cubicBezTo>
                    <a:lnTo>
                      <a:pt x="10309" y="20593"/>
                    </a:lnTo>
                    <a:cubicBezTo>
                      <a:pt x="5280" y="20344"/>
                      <a:pt x="1255" y="16320"/>
                      <a:pt x="1006" y="11291"/>
                    </a:cubicBezTo>
                    <a:lnTo>
                      <a:pt x="4418" y="11291"/>
                    </a:lnTo>
                    <a:cubicBezTo>
                      <a:pt x="4690" y="11291"/>
                      <a:pt x="4909" y="11071"/>
                      <a:pt x="4909" y="10800"/>
                    </a:cubicBezTo>
                    <a:cubicBezTo>
                      <a:pt x="4909" y="10529"/>
                      <a:pt x="4690" y="10309"/>
                      <a:pt x="4418" y="10309"/>
                    </a:cubicBezTo>
                    <a:lnTo>
                      <a:pt x="1006" y="10309"/>
                    </a:lnTo>
                    <a:cubicBezTo>
                      <a:pt x="1255" y="5281"/>
                      <a:pt x="5280" y="1256"/>
                      <a:pt x="10309" y="1007"/>
                    </a:cubicBezTo>
                    <a:lnTo>
                      <a:pt x="10309" y="4418"/>
                    </a:lnTo>
                    <a:cubicBezTo>
                      <a:pt x="10309" y="4690"/>
                      <a:pt x="10529" y="4909"/>
                      <a:pt x="10800" y="4909"/>
                    </a:cubicBezTo>
                    <a:cubicBezTo>
                      <a:pt x="11071" y="4909"/>
                      <a:pt x="11291" y="4690"/>
                      <a:pt x="11291" y="4418"/>
                    </a:cubicBezTo>
                    <a:lnTo>
                      <a:pt x="11291" y="1007"/>
                    </a:lnTo>
                    <a:cubicBezTo>
                      <a:pt x="16320" y="1256"/>
                      <a:pt x="20345" y="5281"/>
                      <a:pt x="20594" y="10309"/>
                    </a:cubicBezTo>
                    <a:lnTo>
                      <a:pt x="17182" y="10309"/>
                    </a:lnTo>
                    <a:cubicBezTo>
                      <a:pt x="16910" y="10309"/>
                      <a:pt x="16691" y="10529"/>
                      <a:pt x="16691" y="10800"/>
                    </a:cubicBezTo>
                    <a:cubicBezTo>
                      <a:pt x="16691" y="11071"/>
                      <a:pt x="16910" y="11291"/>
                      <a:pt x="17182" y="11291"/>
                    </a:cubicBezTo>
                    <a:lnTo>
                      <a:pt x="20594" y="11291"/>
                    </a:lnTo>
                    <a:cubicBezTo>
                      <a:pt x="20345" y="16320"/>
                      <a:pt x="16320" y="20344"/>
                      <a:pt x="11291" y="20593"/>
                    </a:cubicBezTo>
                    <a:moveTo>
                      <a:pt x="10800" y="1"/>
                    </a:moveTo>
                    <a:cubicBezTo>
                      <a:pt x="10800" y="1"/>
                      <a:pt x="10800" y="0"/>
                      <a:pt x="10800" y="0"/>
                    </a:cubicBezTo>
                    <a:cubicBezTo>
                      <a:pt x="10800" y="0"/>
                      <a:pt x="10800" y="1"/>
                      <a:pt x="10800" y="1"/>
                    </a:cubicBezTo>
                    <a:cubicBezTo>
                      <a:pt x="4835" y="1"/>
                      <a:pt x="0" y="4836"/>
                      <a:pt x="0" y="10800"/>
                    </a:cubicBezTo>
                    <a:cubicBezTo>
                      <a:pt x="0" y="16765"/>
                      <a:pt x="4835" y="21600"/>
                      <a:pt x="10800" y="21600"/>
                    </a:cubicBezTo>
                    <a:cubicBezTo>
                      <a:pt x="16765" y="21600"/>
                      <a:pt x="21600" y="16765"/>
                      <a:pt x="21600" y="10800"/>
                    </a:cubicBezTo>
                    <a:cubicBezTo>
                      <a:pt x="21600" y="4836"/>
                      <a:pt x="16765" y="1"/>
                      <a:pt x="10800" y="1"/>
                    </a:cubicBezTo>
                  </a:path>
                </a:pathLst>
              </a:custGeom>
              <a:solidFill>
                <a:schemeClr val="bg1"/>
              </a:solidFill>
              <a:ln w="12700">
                <a:miter lim="400000"/>
              </a:ln>
            </p:spPr>
            <p:txBody>
              <a:bodyPr lIns="38100" tIns="38100" rIns="38100" bIns="38100" anchor="ctr"/>
              <a:lstStyle/>
              <a:p>
                <a:endParaRPr>
                  <a:solidFill>
                    <a:prstClr val="black"/>
                  </a:solidFill>
                </a:endParaRPr>
              </a:p>
            </p:txBody>
          </p:sp>
          <p:sp>
            <p:nvSpPr>
              <p:cNvPr id="22" name="Shape 3790">
                <a:extLst>
                  <a:ext uri="{FF2B5EF4-FFF2-40B4-BE49-F238E27FC236}">
                    <a16:creationId xmlns:a16="http://schemas.microsoft.com/office/drawing/2014/main" id="{4C73872D-A391-0A7C-DC9B-08D71EFDD4AF}"/>
                  </a:ext>
                </a:extLst>
              </p:cNvPr>
              <p:cNvSpPr/>
              <p:nvPr/>
            </p:nvSpPr>
            <p:spPr>
              <a:xfrm>
                <a:off x="5829558" y="3164300"/>
                <a:ext cx="526353" cy="526353"/>
              </a:xfrm>
              <a:custGeom>
                <a:avLst/>
                <a:gdLst/>
                <a:ahLst/>
                <a:cxnLst>
                  <a:cxn ang="0">
                    <a:pos x="wd2" y="hd2"/>
                  </a:cxn>
                  <a:cxn ang="5400000">
                    <a:pos x="wd2" y="hd2"/>
                  </a:cxn>
                  <a:cxn ang="10800000">
                    <a:pos x="wd2" y="hd2"/>
                  </a:cxn>
                  <a:cxn ang="16200000">
                    <a:pos x="wd2" y="hd2"/>
                  </a:cxn>
                </a:cxnLst>
                <a:rect l="0" t="0" r="r" b="b"/>
                <a:pathLst>
                  <a:path w="21600" h="21600" extrusionOk="0">
                    <a:moveTo>
                      <a:pt x="19594" y="9980"/>
                    </a:moveTo>
                    <a:cubicBezTo>
                      <a:pt x="19587" y="9895"/>
                      <a:pt x="19575" y="9811"/>
                      <a:pt x="19564" y="9726"/>
                    </a:cubicBezTo>
                    <a:cubicBezTo>
                      <a:pt x="19542" y="9539"/>
                      <a:pt x="19514" y="9355"/>
                      <a:pt x="19480" y="9172"/>
                    </a:cubicBezTo>
                    <a:cubicBezTo>
                      <a:pt x="19462" y="9079"/>
                      <a:pt x="19444" y="8986"/>
                      <a:pt x="19424" y="8893"/>
                    </a:cubicBezTo>
                    <a:cubicBezTo>
                      <a:pt x="19384" y="8712"/>
                      <a:pt x="19337" y="8533"/>
                      <a:pt x="19286" y="8356"/>
                    </a:cubicBezTo>
                    <a:cubicBezTo>
                      <a:pt x="19263" y="8276"/>
                      <a:pt x="19243" y="8195"/>
                      <a:pt x="19218" y="8116"/>
                    </a:cubicBezTo>
                    <a:cubicBezTo>
                      <a:pt x="19143" y="7879"/>
                      <a:pt x="19057" y="7646"/>
                      <a:pt x="18962" y="7418"/>
                    </a:cubicBezTo>
                    <a:cubicBezTo>
                      <a:pt x="18922" y="7321"/>
                      <a:pt x="18876" y="7229"/>
                      <a:pt x="18832" y="7134"/>
                    </a:cubicBezTo>
                    <a:cubicBezTo>
                      <a:pt x="18771" y="6999"/>
                      <a:pt x="18708" y="6865"/>
                      <a:pt x="18640" y="6734"/>
                    </a:cubicBezTo>
                    <a:cubicBezTo>
                      <a:pt x="18579" y="6618"/>
                      <a:pt x="18516" y="6505"/>
                      <a:pt x="18450" y="6391"/>
                    </a:cubicBezTo>
                    <a:cubicBezTo>
                      <a:pt x="18392" y="6291"/>
                      <a:pt x="18331" y="6192"/>
                      <a:pt x="18269" y="6094"/>
                    </a:cubicBezTo>
                    <a:cubicBezTo>
                      <a:pt x="18192" y="5971"/>
                      <a:pt x="18114" y="5850"/>
                      <a:pt x="18031" y="5732"/>
                    </a:cubicBezTo>
                    <a:cubicBezTo>
                      <a:pt x="17985" y="5667"/>
                      <a:pt x="17936" y="5605"/>
                      <a:pt x="17889" y="5541"/>
                    </a:cubicBezTo>
                    <a:cubicBezTo>
                      <a:pt x="17544" y="5080"/>
                      <a:pt x="17159" y="4651"/>
                      <a:pt x="16732" y="4265"/>
                    </a:cubicBezTo>
                    <a:cubicBezTo>
                      <a:pt x="16705" y="4241"/>
                      <a:pt x="16679" y="4216"/>
                      <a:pt x="16652" y="4192"/>
                    </a:cubicBezTo>
                    <a:cubicBezTo>
                      <a:pt x="16499" y="4058"/>
                      <a:pt x="16343" y="3927"/>
                      <a:pt x="16181" y="3803"/>
                    </a:cubicBezTo>
                    <a:cubicBezTo>
                      <a:pt x="16173" y="3796"/>
                      <a:pt x="16165" y="3790"/>
                      <a:pt x="16156" y="3784"/>
                    </a:cubicBezTo>
                    <a:cubicBezTo>
                      <a:pt x="15458" y="3252"/>
                      <a:pt x="14680" y="2821"/>
                      <a:pt x="13842" y="2513"/>
                    </a:cubicBezTo>
                    <a:cubicBezTo>
                      <a:pt x="13592" y="2912"/>
                      <a:pt x="13337" y="3420"/>
                      <a:pt x="13039" y="3590"/>
                    </a:cubicBezTo>
                    <a:cubicBezTo>
                      <a:pt x="12610" y="3835"/>
                      <a:pt x="12641" y="4817"/>
                      <a:pt x="13469" y="4725"/>
                    </a:cubicBezTo>
                    <a:cubicBezTo>
                      <a:pt x="13469" y="4725"/>
                      <a:pt x="13223" y="4970"/>
                      <a:pt x="13469" y="5860"/>
                    </a:cubicBezTo>
                    <a:cubicBezTo>
                      <a:pt x="13714" y="6750"/>
                      <a:pt x="14126" y="6944"/>
                      <a:pt x="15341" y="6443"/>
                    </a:cubicBezTo>
                    <a:cubicBezTo>
                      <a:pt x="15862" y="6228"/>
                      <a:pt x="16258" y="6341"/>
                      <a:pt x="16200" y="6873"/>
                    </a:cubicBezTo>
                    <a:cubicBezTo>
                      <a:pt x="16077" y="8008"/>
                      <a:pt x="15202" y="7960"/>
                      <a:pt x="15862" y="9788"/>
                    </a:cubicBezTo>
                    <a:cubicBezTo>
                      <a:pt x="16261" y="10892"/>
                      <a:pt x="17243" y="11322"/>
                      <a:pt x="17611" y="12181"/>
                    </a:cubicBezTo>
                    <a:cubicBezTo>
                      <a:pt x="17814" y="12653"/>
                      <a:pt x="18591" y="13088"/>
                      <a:pt x="19250" y="13384"/>
                    </a:cubicBezTo>
                    <a:cubicBezTo>
                      <a:pt x="19320" y="13153"/>
                      <a:pt x="19380" y="12917"/>
                      <a:pt x="19432" y="12677"/>
                    </a:cubicBezTo>
                    <a:cubicBezTo>
                      <a:pt x="19451" y="12587"/>
                      <a:pt x="19467" y="12494"/>
                      <a:pt x="19483" y="12402"/>
                    </a:cubicBezTo>
                    <a:cubicBezTo>
                      <a:pt x="19517" y="12224"/>
                      <a:pt x="19544" y="12045"/>
                      <a:pt x="19566" y="11862"/>
                    </a:cubicBezTo>
                    <a:cubicBezTo>
                      <a:pt x="19576" y="11776"/>
                      <a:pt x="19587" y="11691"/>
                      <a:pt x="19595" y="11604"/>
                    </a:cubicBezTo>
                    <a:cubicBezTo>
                      <a:pt x="19619" y="11340"/>
                      <a:pt x="19636" y="11072"/>
                      <a:pt x="19636" y="10800"/>
                    </a:cubicBezTo>
                    <a:cubicBezTo>
                      <a:pt x="19636" y="10523"/>
                      <a:pt x="19619" y="10251"/>
                      <a:pt x="19594" y="9980"/>
                    </a:cubicBezTo>
                    <a:moveTo>
                      <a:pt x="10800" y="20618"/>
                    </a:moveTo>
                    <a:cubicBezTo>
                      <a:pt x="5377" y="20618"/>
                      <a:pt x="982" y="16223"/>
                      <a:pt x="982" y="10800"/>
                    </a:cubicBezTo>
                    <a:cubicBezTo>
                      <a:pt x="982" y="5378"/>
                      <a:pt x="5377" y="982"/>
                      <a:pt x="10800" y="982"/>
                    </a:cubicBezTo>
                    <a:cubicBezTo>
                      <a:pt x="16222" y="982"/>
                      <a:pt x="20618" y="5378"/>
                      <a:pt x="20618" y="10800"/>
                    </a:cubicBezTo>
                    <a:cubicBezTo>
                      <a:pt x="20618" y="16223"/>
                      <a:pt x="16222" y="20618"/>
                      <a:pt x="10800" y="20618"/>
                    </a:cubicBezTo>
                    <a:moveTo>
                      <a:pt x="10800" y="0"/>
                    </a:moveTo>
                    <a:cubicBezTo>
                      <a:pt x="4835" y="0"/>
                      <a:pt x="0" y="4836"/>
                      <a:pt x="0" y="10800"/>
                    </a:cubicBezTo>
                    <a:cubicBezTo>
                      <a:pt x="0" y="16765"/>
                      <a:pt x="4835" y="21600"/>
                      <a:pt x="10800" y="21600"/>
                    </a:cubicBezTo>
                    <a:cubicBezTo>
                      <a:pt x="16764" y="21600"/>
                      <a:pt x="21600" y="16765"/>
                      <a:pt x="21600" y="10800"/>
                    </a:cubicBezTo>
                    <a:cubicBezTo>
                      <a:pt x="21600" y="4836"/>
                      <a:pt x="16764" y="0"/>
                      <a:pt x="10800" y="0"/>
                    </a:cubicBezTo>
                    <a:moveTo>
                      <a:pt x="8407" y="9726"/>
                    </a:moveTo>
                    <a:cubicBezTo>
                      <a:pt x="8468" y="9020"/>
                      <a:pt x="9603" y="8284"/>
                      <a:pt x="10370" y="7947"/>
                    </a:cubicBezTo>
                    <a:cubicBezTo>
                      <a:pt x="11137" y="7609"/>
                      <a:pt x="11843" y="7486"/>
                      <a:pt x="11751" y="6903"/>
                    </a:cubicBezTo>
                    <a:cubicBezTo>
                      <a:pt x="11659" y="6320"/>
                      <a:pt x="11444" y="5891"/>
                      <a:pt x="10248" y="5891"/>
                    </a:cubicBezTo>
                    <a:cubicBezTo>
                      <a:pt x="9051" y="5891"/>
                      <a:pt x="9573" y="7486"/>
                      <a:pt x="8591" y="6535"/>
                    </a:cubicBezTo>
                    <a:cubicBezTo>
                      <a:pt x="7609" y="5584"/>
                      <a:pt x="8805" y="5830"/>
                      <a:pt x="9296" y="5615"/>
                    </a:cubicBezTo>
                    <a:cubicBezTo>
                      <a:pt x="9787" y="5400"/>
                      <a:pt x="10278" y="4510"/>
                      <a:pt x="9419" y="4449"/>
                    </a:cubicBezTo>
                    <a:cubicBezTo>
                      <a:pt x="8560" y="4388"/>
                      <a:pt x="8744" y="4817"/>
                      <a:pt x="8069" y="4572"/>
                    </a:cubicBezTo>
                    <a:cubicBezTo>
                      <a:pt x="7394" y="4326"/>
                      <a:pt x="7087" y="5431"/>
                      <a:pt x="6657" y="5277"/>
                    </a:cubicBezTo>
                    <a:cubicBezTo>
                      <a:pt x="6373" y="5176"/>
                      <a:pt x="5613" y="4605"/>
                      <a:pt x="5109" y="4044"/>
                    </a:cubicBezTo>
                    <a:cubicBezTo>
                      <a:pt x="4094" y="4900"/>
                      <a:pt x="3276" y="5983"/>
                      <a:pt x="2729" y="7212"/>
                    </a:cubicBezTo>
                    <a:cubicBezTo>
                      <a:pt x="2875" y="8862"/>
                      <a:pt x="3773" y="9726"/>
                      <a:pt x="3773" y="9726"/>
                    </a:cubicBezTo>
                    <a:cubicBezTo>
                      <a:pt x="3773" y="9726"/>
                      <a:pt x="4234" y="10800"/>
                      <a:pt x="6995" y="12119"/>
                    </a:cubicBezTo>
                    <a:cubicBezTo>
                      <a:pt x="6995" y="12119"/>
                      <a:pt x="7517" y="12150"/>
                      <a:pt x="6903" y="11536"/>
                    </a:cubicBezTo>
                    <a:cubicBezTo>
                      <a:pt x="6289" y="10923"/>
                      <a:pt x="5614" y="10156"/>
                      <a:pt x="6382" y="9757"/>
                    </a:cubicBezTo>
                    <a:cubicBezTo>
                      <a:pt x="7148" y="9358"/>
                      <a:pt x="7364" y="9389"/>
                      <a:pt x="7548" y="10125"/>
                    </a:cubicBezTo>
                    <a:cubicBezTo>
                      <a:pt x="7732" y="10861"/>
                      <a:pt x="8345" y="10432"/>
                      <a:pt x="8407" y="9726"/>
                    </a:cubicBezTo>
                    <a:moveTo>
                      <a:pt x="16245" y="12871"/>
                    </a:moveTo>
                    <a:cubicBezTo>
                      <a:pt x="15893" y="13086"/>
                      <a:pt x="15908" y="13561"/>
                      <a:pt x="16200" y="13822"/>
                    </a:cubicBezTo>
                    <a:cubicBezTo>
                      <a:pt x="16491" y="14083"/>
                      <a:pt x="17074" y="14420"/>
                      <a:pt x="17258" y="13822"/>
                    </a:cubicBezTo>
                    <a:cubicBezTo>
                      <a:pt x="17442" y="13224"/>
                      <a:pt x="16598" y="12656"/>
                      <a:pt x="16245" y="12871"/>
                    </a:cubicBezTo>
                    <a:moveTo>
                      <a:pt x="12027" y="12948"/>
                    </a:moveTo>
                    <a:cubicBezTo>
                      <a:pt x="10984" y="12058"/>
                      <a:pt x="11107" y="11659"/>
                      <a:pt x="9787" y="11659"/>
                    </a:cubicBezTo>
                    <a:cubicBezTo>
                      <a:pt x="8468" y="11659"/>
                      <a:pt x="7639" y="11966"/>
                      <a:pt x="7977" y="13807"/>
                    </a:cubicBezTo>
                    <a:cubicBezTo>
                      <a:pt x="8314" y="15648"/>
                      <a:pt x="9296" y="14819"/>
                      <a:pt x="9205" y="16231"/>
                    </a:cubicBezTo>
                    <a:cubicBezTo>
                      <a:pt x="9112" y="17642"/>
                      <a:pt x="9450" y="17949"/>
                      <a:pt x="9664" y="18286"/>
                    </a:cubicBezTo>
                    <a:cubicBezTo>
                      <a:pt x="9880" y="18624"/>
                      <a:pt x="10523" y="19606"/>
                      <a:pt x="10769" y="18225"/>
                    </a:cubicBezTo>
                    <a:cubicBezTo>
                      <a:pt x="11014" y="16844"/>
                      <a:pt x="11475" y="16077"/>
                      <a:pt x="11996" y="15402"/>
                    </a:cubicBezTo>
                    <a:cubicBezTo>
                      <a:pt x="12518" y="14727"/>
                      <a:pt x="13070" y="13837"/>
                      <a:pt x="12027" y="12948"/>
                    </a:cubicBezTo>
                  </a:path>
                </a:pathLst>
              </a:custGeom>
              <a:solidFill>
                <a:schemeClr val="tx1"/>
              </a:solidFill>
              <a:ln w="12700">
                <a:miter lim="400000"/>
              </a:ln>
            </p:spPr>
            <p:txBody>
              <a:bodyPr lIns="38100" tIns="38100" rIns="38100" bIns="38100" anchor="ctr"/>
              <a:lstStyle/>
              <a:p>
                <a:endParaRPr>
                  <a:solidFill>
                    <a:prstClr val="black"/>
                  </a:solidFill>
                </a:endParaRPr>
              </a:p>
            </p:txBody>
          </p:sp>
        </p:grpSp>
      </p:grpSp>
    </p:spTree>
    <p:extLst>
      <p:ext uri="{BB962C8B-B14F-4D97-AF65-F5344CB8AC3E}">
        <p14:creationId xmlns:p14="http://schemas.microsoft.com/office/powerpoint/2010/main" val="21172400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7A5FAB5-EBEF-296B-2C9F-93138C378710}"/>
              </a:ext>
            </a:extLst>
          </p:cNvPr>
          <p:cNvSpPr>
            <a:spLocks noGrp="1"/>
          </p:cNvSpPr>
          <p:nvPr>
            <p:ph type="body" idx="1"/>
          </p:nvPr>
        </p:nvSpPr>
        <p:spPr/>
        <p:txBody>
          <a:bodyPr/>
          <a:lstStyle/>
          <a:p>
            <a:r>
              <a:rPr lang="en-US" dirty="0"/>
              <a:t>Risks of using FOSS</a:t>
            </a:r>
          </a:p>
        </p:txBody>
      </p:sp>
      <p:sp>
        <p:nvSpPr>
          <p:cNvPr id="4" name="Date Placeholder 3">
            <a:extLst>
              <a:ext uri="{FF2B5EF4-FFF2-40B4-BE49-F238E27FC236}">
                <a16:creationId xmlns:a16="http://schemas.microsoft.com/office/drawing/2014/main" id="{202B4F57-380B-22A2-E198-74CA4F400B62}"/>
              </a:ext>
            </a:extLst>
          </p:cNvPr>
          <p:cNvSpPr>
            <a:spLocks noGrp="1"/>
          </p:cNvSpPr>
          <p:nvPr>
            <p:ph type="dt" idx="10"/>
          </p:nvPr>
        </p:nvSpPr>
        <p:spPr/>
        <p:txBody>
          <a:bodyPr/>
          <a:lstStyle/>
          <a:p>
            <a:r>
              <a:rPr lang="en-US" dirty="0"/>
              <a:t>Sep 2024</a:t>
            </a:r>
          </a:p>
        </p:txBody>
      </p:sp>
      <p:sp>
        <p:nvSpPr>
          <p:cNvPr id="5" name="Footer Placeholder 4">
            <a:extLst>
              <a:ext uri="{FF2B5EF4-FFF2-40B4-BE49-F238E27FC236}">
                <a16:creationId xmlns:a16="http://schemas.microsoft.com/office/drawing/2014/main" id="{B8E6BEC1-5ABA-F040-38E0-9D883F992CFE}"/>
              </a:ext>
            </a:extLst>
          </p:cNvPr>
          <p:cNvSpPr>
            <a:spLocks noGrp="1"/>
          </p:cNvSpPr>
          <p:nvPr>
            <p:ph type="ftr" idx="11"/>
          </p:nvPr>
        </p:nvSpPr>
        <p:spPr>
          <a:xfrm>
            <a:off x="3696000" y="6489701"/>
            <a:ext cx="4800000" cy="216000"/>
          </a:xfrm>
        </p:spPr>
        <p:txBody>
          <a:bodyPr/>
          <a:lstStyle/>
          <a:p>
            <a:pPr algn="ctr"/>
            <a:r>
              <a:rPr lang="en-US" dirty="0"/>
              <a:t>OSPO</a:t>
            </a:r>
          </a:p>
        </p:txBody>
      </p:sp>
      <p:sp>
        <p:nvSpPr>
          <p:cNvPr id="6" name="Slide Number Placeholder 5">
            <a:extLst>
              <a:ext uri="{FF2B5EF4-FFF2-40B4-BE49-F238E27FC236}">
                <a16:creationId xmlns:a16="http://schemas.microsoft.com/office/drawing/2014/main" id="{EBF78847-B904-8C25-A589-AFF44DB8CD17}"/>
              </a:ext>
            </a:extLst>
          </p:cNvPr>
          <p:cNvSpPr>
            <a:spLocks noGrp="1"/>
          </p:cNvSpPr>
          <p:nvPr>
            <p:ph type="sldNum" idx="12"/>
          </p:nvPr>
        </p:nvSpPr>
        <p:spPr/>
        <p:txBody>
          <a:bodyPr/>
          <a:lstStyle/>
          <a:p>
            <a:fld id="{00000000-1234-1234-1234-123412341234}" type="slidenum">
              <a:rPr lang="en-US" smtClean="0"/>
              <a:pPr/>
              <a:t>9</a:t>
            </a:fld>
            <a:endParaRPr lang="en-US" dirty="0"/>
          </a:p>
        </p:txBody>
      </p:sp>
      <p:grpSp>
        <p:nvGrpSpPr>
          <p:cNvPr id="3" name="Group 2">
            <a:extLst>
              <a:ext uri="{FF2B5EF4-FFF2-40B4-BE49-F238E27FC236}">
                <a16:creationId xmlns:a16="http://schemas.microsoft.com/office/drawing/2014/main" id="{8AF6BC0F-783D-7C83-F210-6FF128C976C5}"/>
              </a:ext>
            </a:extLst>
          </p:cNvPr>
          <p:cNvGrpSpPr/>
          <p:nvPr/>
        </p:nvGrpSpPr>
        <p:grpSpPr>
          <a:xfrm>
            <a:off x="397512" y="1148838"/>
            <a:ext cx="1973536" cy="5074557"/>
            <a:chOff x="877449" y="1503414"/>
            <a:chExt cx="1973536" cy="5074557"/>
          </a:xfrm>
        </p:grpSpPr>
        <p:grpSp>
          <p:nvGrpSpPr>
            <p:cNvPr id="9" name="Group 8">
              <a:extLst>
                <a:ext uri="{FF2B5EF4-FFF2-40B4-BE49-F238E27FC236}">
                  <a16:creationId xmlns:a16="http://schemas.microsoft.com/office/drawing/2014/main" id="{538FA77C-F61B-E9C4-31B9-D45E2247E31B}"/>
                </a:ext>
              </a:extLst>
            </p:cNvPr>
            <p:cNvGrpSpPr/>
            <p:nvPr/>
          </p:nvGrpSpPr>
          <p:grpSpPr>
            <a:xfrm>
              <a:off x="1146597" y="1503414"/>
              <a:ext cx="1435240" cy="3075222"/>
              <a:chOff x="1603796" y="1315155"/>
              <a:chExt cx="1435240" cy="3075222"/>
            </a:xfrm>
          </p:grpSpPr>
          <p:sp>
            <p:nvSpPr>
              <p:cNvPr id="13" name="Arrow: Pentagon 12">
                <a:extLst>
                  <a:ext uri="{FF2B5EF4-FFF2-40B4-BE49-F238E27FC236}">
                    <a16:creationId xmlns:a16="http://schemas.microsoft.com/office/drawing/2014/main" id="{2760FDD6-2AFA-B2A6-61D5-1ACA268837DF}"/>
                  </a:ext>
                </a:extLst>
              </p:cNvPr>
              <p:cNvSpPr/>
              <p:nvPr/>
            </p:nvSpPr>
            <p:spPr>
              <a:xfrm rot="5604118">
                <a:off x="1297735" y="3161540"/>
                <a:ext cx="1939785" cy="517889"/>
              </a:xfrm>
              <a:prstGeom prst="homePlat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Arrow: Pentagon 13">
                <a:extLst>
                  <a:ext uri="{FF2B5EF4-FFF2-40B4-BE49-F238E27FC236}">
                    <a16:creationId xmlns:a16="http://schemas.microsoft.com/office/drawing/2014/main" id="{6CA1FB53-95AE-C596-342D-9524FA3D63B3}"/>
                  </a:ext>
                </a:extLst>
              </p:cNvPr>
              <p:cNvSpPr/>
              <p:nvPr/>
            </p:nvSpPr>
            <p:spPr>
              <a:xfrm rot="5400000">
                <a:off x="1351524" y="3161540"/>
                <a:ext cx="1939785" cy="517889"/>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015F43E9-C00C-B6C4-4C40-D899A015F166}"/>
                  </a:ext>
                </a:extLst>
              </p:cNvPr>
              <p:cNvGrpSpPr/>
              <p:nvPr/>
            </p:nvGrpSpPr>
            <p:grpSpPr>
              <a:xfrm>
                <a:off x="1603796" y="1315155"/>
                <a:ext cx="1435240" cy="1435240"/>
                <a:chOff x="6990429" y="1189044"/>
                <a:chExt cx="1225724" cy="1225724"/>
              </a:xfrm>
            </p:grpSpPr>
            <p:sp>
              <p:nvSpPr>
                <p:cNvPr id="16" name="Oval 15">
                  <a:extLst>
                    <a:ext uri="{FF2B5EF4-FFF2-40B4-BE49-F238E27FC236}">
                      <a16:creationId xmlns:a16="http://schemas.microsoft.com/office/drawing/2014/main" id="{B5FD2BCE-DDD8-BB6E-4CDB-6B243203C7DD}"/>
                    </a:ext>
                  </a:extLst>
                </p:cNvPr>
                <p:cNvSpPr/>
                <p:nvPr/>
              </p:nvSpPr>
              <p:spPr>
                <a:xfrm>
                  <a:off x="6990429" y="1189044"/>
                  <a:ext cx="1225724" cy="122572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E3341F7B-1077-BCCB-E508-014A8C734507}"/>
                    </a:ext>
                  </a:extLst>
                </p:cNvPr>
                <p:cNvSpPr/>
                <p:nvPr/>
              </p:nvSpPr>
              <p:spPr>
                <a:xfrm>
                  <a:off x="7106665" y="1305280"/>
                  <a:ext cx="993252" cy="9932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F2D7F202-586C-9701-FFC5-1A01F9BD4A39}"/>
                    </a:ext>
                  </a:extLst>
                </p:cNvPr>
                <p:cNvSpPr/>
                <p:nvPr/>
              </p:nvSpPr>
              <p:spPr>
                <a:xfrm>
                  <a:off x="7207061" y="1405676"/>
                  <a:ext cx="792461" cy="792461"/>
                </a:xfrm>
                <a:prstGeom prst="ellipse">
                  <a:avLst/>
                </a:prstGeom>
                <a:gradFill flip="none" rotWithShape="1">
                  <a:gsLst>
                    <a:gs pos="0">
                      <a:schemeClr val="bg1">
                        <a:lumMod val="85000"/>
                      </a:schemeClr>
                    </a:gs>
                    <a:gs pos="100000">
                      <a:schemeClr val="bg1"/>
                    </a:gs>
                  </a:gsLst>
                  <a:lin ang="5400000" scaled="1"/>
                  <a:tileRect/>
                </a:gradFill>
                <a:ln w="285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0" name="Group 9">
              <a:extLst>
                <a:ext uri="{FF2B5EF4-FFF2-40B4-BE49-F238E27FC236}">
                  <a16:creationId xmlns:a16="http://schemas.microsoft.com/office/drawing/2014/main" id="{3AB10A46-5DB4-5A9B-EE32-5D31672E1A2A}"/>
                </a:ext>
              </a:extLst>
            </p:cNvPr>
            <p:cNvGrpSpPr/>
            <p:nvPr/>
          </p:nvGrpSpPr>
          <p:grpSpPr>
            <a:xfrm>
              <a:off x="877449" y="4896851"/>
              <a:ext cx="1973536" cy="1681120"/>
              <a:chOff x="350992" y="4436483"/>
              <a:chExt cx="2094741" cy="1681120"/>
            </a:xfrm>
          </p:grpSpPr>
          <p:sp>
            <p:nvSpPr>
              <p:cNvPr id="11" name="TextBox 10">
                <a:extLst>
                  <a:ext uri="{FF2B5EF4-FFF2-40B4-BE49-F238E27FC236}">
                    <a16:creationId xmlns:a16="http://schemas.microsoft.com/office/drawing/2014/main" id="{E2D8FC4D-5AE9-6698-EEB8-D7A492C8EC92}"/>
                  </a:ext>
                </a:extLst>
              </p:cNvPr>
              <p:cNvSpPr txBox="1"/>
              <p:nvPr/>
            </p:nvSpPr>
            <p:spPr>
              <a:xfrm>
                <a:off x="350992" y="5040385"/>
                <a:ext cx="2094741" cy="1077218"/>
              </a:xfrm>
              <a:prstGeom prst="rect">
                <a:avLst/>
              </a:prstGeom>
              <a:noFill/>
            </p:spPr>
            <p:txBody>
              <a:bodyPr wrap="square" rtlCol="0">
                <a:spAutoFit/>
              </a:bodyPr>
              <a:lstStyle/>
              <a:p>
                <a:pPr lvl="0" algn="ctr"/>
                <a:r>
                  <a:rPr lang="en-US" sz="1600" dirty="0"/>
                  <a:t>Use of FOSS Licenses should be followed proper compliance process.</a:t>
                </a:r>
              </a:p>
            </p:txBody>
          </p:sp>
          <p:sp>
            <p:nvSpPr>
              <p:cNvPr id="12" name="TextBox 11">
                <a:extLst>
                  <a:ext uri="{FF2B5EF4-FFF2-40B4-BE49-F238E27FC236}">
                    <a16:creationId xmlns:a16="http://schemas.microsoft.com/office/drawing/2014/main" id="{E53BF6CE-8749-C341-26E0-40B90375ED40}"/>
                  </a:ext>
                </a:extLst>
              </p:cNvPr>
              <p:cNvSpPr txBox="1"/>
              <p:nvPr/>
            </p:nvSpPr>
            <p:spPr>
              <a:xfrm>
                <a:off x="350992" y="4436483"/>
                <a:ext cx="2094741" cy="584775"/>
              </a:xfrm>
              <a:prstGeom prst="rect">
                <a:avLst/>
              </a:prstGeom>
              <a:noFill/>
            </p:spPr>
            <p:txBody>
              <a:bodyPr wrap="square" rtlCol="0">
                <a:spAutoFit/>
              </a:bodyPr>
              <a:lstStyle/>
              <a:p>
                <a:pPr lvl="0" algn="ctr"/>
                <a:r>
                  <a:rPr lang="en-US" sz="1600" b="1" dirty="0"/>
                  <a:t>Business </a:t>
                </a:r>
              </a:p>
              <a:p>
                <a:pPr lvl="0" algn="ctr"/>
                <a:r>
                  <a:rPr lang="en-US" sz="1600" b="1" dirty="0"/>
                  <a:t>Risk</a:t>
                </a:r>
              </a:p>
            </p:txBody>
          </p:sp>
        </p:grpSp>
      </p:grpSp>
      <p:grpSp>
        <p:nvGrpSpPr>
          <p:cNvPr id="19" name="Group 18">
            <a:extLst>
              <a:ext uri="{FF2B5EF4-FFF2-40B4-BE49-F238E27FC236}">
                <a16:creationId xmlns:a16="http://schemas.microsoft.com/office/drawing/2014/main" id="{9A778D28-87E6-5AB2-E794-678EBDB8A52B}"/>
              </a:ext>
            </a:extLst>
          </p:cNvPr>
          <p:cNvGrpSpPr/>
          <p:nvPr/>
        </p:nvGrpSpPr>
        <p:grpSpPr>
          <a:xfrm>
            <a:off x="2753372" y="1148838"/>
            <a:ext cx="1973536" cy="4828336"/>
            <a:chOff x="877449" y="1503414"/>
            <a:chExt cx="1973536" cy="4828336"/>
          </a:xfrm>
        </p:grpSpPr>
        <p:grpSp>
          <p:nvGrpSpPr>
            <p:cNvPr id="20" name="Group 19">
              <a:extLst>
                <a:ext uri="{FF2B5EF4-FFF2-40B4-BE49-F238E27FC236}">
                  <a16:creationId xmlns:a16="http://schemas.microsoft.com/office/drawing/2014/main" id="{357209A4-0AB7-541C-CE0E-A01D2FF13833}"/>
                </a:ext>
              </a:extLst>
            </p:cNvPr>
            <p:cNvGrpSpPr/>
            <p:nvPr/>
          </p:nvGrpSpPr>
          <p:grpSpPr>
            <a:xfrm>
              <a:off x="1146597" y="1503414"/>
              <a:ext cx="1435240" cy="3075222"/>
              <a:chOff x="1603796" y="1315155"/>
              <a:chExt cx="1435240" cy="3075222"/>
            </a:xfrm>
          </p:grpSpPr>
          <p:sp>
            <p:nvSpPr>
              <p:cNvPr id="24" name="Arrow: Pentagon 23">
                <a:extLst>
                  <a:ext uri="{FF2B5EF4-FFF2-40B4-BE49-F238E27FC236}">
                    <a16:creationId xmlns:a16="http://schemas.microsoft.com/office/drawing/2014/main" id="{A9C7EE3C-7F94-474D-095C-ADDE806CBEB6}"/>
                  </a:ext>
                </a:extLst>
              </p:cNvPr>
              <p:cNvSpPr/>
              <p:nvPr/>
            </p:nvSpPr>
            <p:spPr>
              <a:xfrm rot="5604118">
                <a:off x="1297735" y="3161540"/>
                <a:ext cx="1939785" cy="517889"/>
              </a:xfrm>
              <a:prstGeom prst="homePlat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Arrow: Pentagon 24">
                <a:extLst>
                  <a:ext uri="{FF2B5EF4-FFF2-40B4-BE49-F238E27FC236}">
                    <a16:creationId xmlns:a16="http://schemas.microsoft.com/office/drawing/2014/main" id="{B3A5822E-ABCF-D3D1-E37A-911E72D0C342}"/>
                  </a:ext>
                </a:extLst>
              </p:cNvPr>
              <p:cNvSpPr/>
              <p:nvPr/>
            </p:nvSpPr>
            <p:spPr>
              <a:xfrm rot="5400000">
                <a:off x="1351524" y="3161540"/>
                <a:ext cx="1939785" cy="517889"/>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Group 25">
                <a:extLst>
                  <a:ext uri="{FF2B5EF4-FFF2-40B4-BE49-F238E27FC236}">
                    <a16:creationId xmlns:a16="http://schemas.microsoft.com/office/drawing/2014/main" id="{39E36536-4E12-8ACC-0268-E9A4FCDBCEF1}"/>
                  </a:ext>
                </a:extLst>
              </p:cNvPr>
              <p:cNvGrpSpPr/>
              <p:nvPr/>
            </p:nvGrpSpPr>
            <p:grpSpPr>
              <a:xfrm>
                <a:off x="1603796" y="1315155"/>
                <a:ext cx="1435240" cy="1435240"/>
                <a:chOff x="6990429" y="1189044"/>
                <a:chExt cx="1225724" cy="1225724"/>
              </a:xfrm>
            </p:grpSpPr>
            <p:sp>
              <p:nvSpPr>
                <p:cNvPr id="27" name="Oval 26">
                  <a:extLst>
                    <a:ext uri="{FF2B5EF4-FFF2-40B4-BE49-F238E27FC236}">
                      <a16:creationId xmlns:a16="http://schemas.microsoft.com/office/drawing/2014/main" id="{F1C031A3-2418-F691-3337-41256A226C2B}"/>
                    </a:ext>
                  </a:extLst>
                </p:cNvPr>
                <p:cNvSpPr/>
                <p:nvPr/>
              </p:nvSpPr>
              <p:spPr>
                <a:xfrm>
                  <a:off x="6990429" y="1189044"/>
                  <a:ext cx="1225724" cy="122572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967822BB-2764-8C12-32B4-6789D60B381D}"/>
                    </a:ext>
                  </a:extLst>
                </p:cNvPr>
                <p:cNvSpPr/>
                <p:nvPr/>
              </p:nvSpPr>
              <p:spPr>
                <a:xfrm>
                  <a:off x="7106665" y="1305280"/>
                  <a:ext cx="993252" cy="9932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CC448DB7-2339-6544-624B-F96DA0A6CF1B}"/>
                    </a:ext>
                  </a:extLst>
                </p:cNvPr>
                <p:cNvSpPr/>
                <p:nvPr/>
              </p:nvSpPr>
              <p:spPr>
                <a:xfrm>
                  <a:off x="7207061" y="1405676"/>
                  <a:ext cx="792461" cy="792461"/>
                </a:xfrm>
                <a:prstGeom prst="ellipse">
                  <a:avLst/>
                </a:prstGeom>
                <a:gradFill flip="none" rotWithShape="1">
                  <a:gsLst>
                    <a:gs pos="0">
                      <a:schemeClr val="bg1">
                        <a:lumMod val="85000"/>
                      </a:schemeClr>
                    </a:gs>
                    <a:gs pos="100000">
                      <a:schemeClr val="bg1"/>
                    </a:gs>
                  </a:gsLst>
                  <a:lin ang="5400000" scaled="1"/>
                  <a:tileRect/>
                </a:gradFill>
                <a:ln w="285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1" name="Group 20">
              <a:extLst>
                <a:ext uri="{FF2B5EF4-FFF2-40B4-BE49-F238E27FC236}">
                  <a16:creationId xmlns:a16="http://schemas.microsoft.com/office/drawing/2014/main" id="{8285049B-C7F1-3BFA-4D7A-E3209BCE707B}"/>
                </a:ext>
              </a:extLst>
            </p:cNvPr>
            <p:cNvGrpSpPr/>
            <p:nvPr/>
          </p:nvGrpSpPr>
          <p:grpSpPr>
            <a:xfrm>
              <a:off x="877449" y="4896851"/>
              <a:ext cx="1973536" cy="1434899"/>
              <a:chOff x="350992" y="4436483"/>
              <a:chExt cx="2094741" cy="1434899"/>
            </a:xfrm>
          </p:grpSpPr>
          <p:sp>
            <p:nvSpPr>
              <p:cNvPr id="22" name="TextBox 21">
                <a:extLst>
                  <a:ext uri="{FF2B5EF4-FFF2-40B4-BE49-F238E27FC236}">
                    <a16:creationId xmlns:a16="http://schemas.microsoft.com/office/drawing/2014/main" id="{30A24E78-DECF-B493-E297-FD3A2894BE61}"/>
                  </a:ext>
                </a:extLst>
              </p:cNvPr>
              <p:cNvSpPr txBox="1"/>
              <p:nvPr/>
            </p:nvSpPr>
            <p:spPr>
              <a:xfrm>
                <a:off x="350992" y="5040385"/>
                <a:ext cx="2094741" cy="830997"/>
              </a:xfrm>
              <a:prstGeom prst="rect">
                <a:avLst/>
              </a:prstGeom>
              <a:noFill/>
            </p:spPr>
            <p:txBody>
              <a:bodyPr wrap="square" rtlCol="0">
                <a:spAutoFit/>
              </a:bodyPr>
              <a:lstStyle/>
              <a:p>
                <a:pPr lvl="0" algn="ctr"/>
                <a:r>
                  <a:rPr lang="en-US" sz="1600" dirty="0"/>
                  <a:t>Proper usage documentation is not available  </a:t>
                </a:r>
              </a:p>
            </p:txBody>
          </p:sp>
          <p:sp>
            <p:nvSpPr>
              <p:cNvPr id="23" name="TextBox 22">
                <a:extLst>
                  <a:ext uri="{FF2B5EF4-FFF2-40B4-BE49-F238E27FC236}">
                    <a16:creationId xmlns:a16="http://schemas.microsoft.com/office/drawing/2014/main" id="{BBE2FB44-095C-38D9-F756-B4420B1EC64A}"/>
                  </a:ext>
                </a:extLst>
              </p:cNvPr>
              <p:cNvSpPr txBox="1"/>
              <p:nvPr/>
            </p:nvSpPr>
            <p:spPr>
              <a:xfrm>
                <a:off x="350992" y="4436483"/>
                <a:ext cx="2094741" cy="584775"/>
              </a:xfrm>
              <a:prstGeom prst="rect">
                <a:avLst/>
              </a:prstGeom>
              <a:noFill/>
            </p:spPr>
            <p:txBody>
              <a:bodyPr wrap="square" rtlCol="0">
                <a:spAutoFit/>
              </a:bodyPr>
              <a:lstStyle/>
              <a:p>
                <a:pPr lvl="0" algn="ctr"/>
                <a:r>
                  <a:rPr lang="en-US" sz="1600" b="1" dirty="0"/>
                  <a:t>Usability</a:t>
                </a:r>
              </a:p>
              <a:p>
                <a:pPr lvl="0" algn="ctr"/>
                <a:r>
                  <a:rPr lang="en-US" sz="1600" b="1" dirty="0"/>
                  <a:t>documentation</a:t>
                </a:r>
              </a:p>
            </p:txBody>
          </p:sp>
        </p:grpSp>
      </p:grpSp>
      <p:grpSp>
        <p:nvGrpSpPr>
          <p:cNvPr id="30" name="Group 29">
            <a:extLst>
              <a:ext uri="{FF2B5EF4-FFF2-40B4-BE49-F238E27FC236}">
                <a16:creationId xmlns:a16="http://schemas.microsoft.com/office/drawing/2014/main" id="{E6C84702-EE79-A246-72E6-13E9B7095D2C}"/>
              </a:ext>
            </a:extLst>
          </p:cNvPr>
          <p:cNvGrpSpPr/>
          <p:nvPr/>
        </p:nvGrpSpPr>
        <p:grpSpPr>
          <a:xfrm>
            <a:off x="5109232" y="1148838"/>
            <a:ext cx="1973536" cy="5074557"/>
            <a:chOff x="877449" y="1503414"/>
            <a:chExt cx="1973536" cy="5074557"/>
          </a:xfrm>
        </p:grpSpPr>
        <p:grpSp>
          <p:nvGrpSpPr>
            <p:cNvPr id="31" name="Group 30">
              <a:extLst>
                <a:ext uri="{FF2B5EF4-FFF2-40B4-BE49-F238E27FC236}">
                  <a16:creationId xmlns:a16="http://schemas.microsoft.com/office/drawing/2014/main" id="{6B92D6A3-8AEF-5BB8-2562-C0B89A2CDA52}"/>
                </a:ext>
              </a:extLst>
            </p:cNvPr>
            <p:cNvGrpSpPr/>
            <p:nvPr/>
          </p:nvGrpSpPr>
          <p:grpSpPr>
            <a:xfrm>
              <a:off x="1146597" y="1503414"/>
              <a:ext cx="1435240" cy="3075222"/>
              <a:chOff x="1603796" y="1315155"/>
              <a:chExt cx="1435240" cy="3075222"/>
            </a:xfrm>
          </p:grpSpPr>
          <p:sp>
            <p:nvSpPr>
              <p:cNvPr id="35" name="Arrow: Pentagon 34">
                <a:extLst>
                  <a:ext uri="{FF2B5EF4-FFF2-40B4-BE49-F238E27FC236}">
                    <a16:creationId xmlns:a16="http://schemas.microsoft.com/office/drawing/2014/main" id="{C71F6DE2-C70F-97E6-B5E3-817633CE6CDC}"/>
                  </a:ext>
                </a:extLst>
              </p:cNvPr>
              <p:cNvSpPr/>
              <p:nvPr/>
            </p:nvSpPr>
            <p:spPr>
              <a:xfrm rot="5604118">
                <a:off x="1297735" y="3161540"/>
                <a:ext cx="1939785" cy="517889"/>
              </a:xfrm>
              <a:prstGeom prst="homePlat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Arrow: Pentagon 35">
                <a:extLst>
                  <a:ext uri="{FF2B5EF4-FFF2-40B4-BE49-F238E27FC236}">
                    <a16:creationId xmlns:a16="http://schemas.microsoft.com/office/drawing/2014/main" id="{2698714A-541D-4DDC-B381-42DBF8685707}"/>
                  </a:ext>
                </a:extLst>
              </p:cNvPr>
              <p:cNvSpPr/>
              <p:nvPr/>
            </p:nvSpPr>
            <p:spPr>
              <a:xfrm rot="5400000">
                <a:off x="1351524" y="3161540"/>
                <a:ext cx="1939785" cy="517889"/>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7" name="Group 36">
                <a:extLst>
                  <a:ext uri="{FF2B5EF4-FFF2-40B4-BE49-F238E27FC236}">
                    <a16:creationId xmlns:a16="http://schemas.microsoft.com/office/drawing/2014/main" id="{37BCA62C-DB54-9026-38B7-CA782F9A4B09}"/>
                  </a:ext>
                </a:extLst>
              </p:cNvPr>
              <p:cNvGrpSpPr/>
              <p:nvPr/>
            </p:nvGrpSpPr>
            <p:grpSpPr>
              <a:xfrm>
                <a:off x="1603796" y="1315155"/>
                <a:ext cx="1435240" cy="1435240"/>
                <a:chOff x="6990429" y="1189044"/>
                <a:chExt cx="1225724" cy="1225724"/>
              </a:xfrm>
            </p:grpSpPr>
            <p:sp>
              <p:nvSpPr>
                <p:cNvPr id="38" name="Oval 37">
                  <a:extLst>
                    <a:ext uri="{FF2B5EF4-FFF2-40B4-BE49-F238E27FC236}">
                      <a16:creationId xmlns:a16="http://schemas.microsoft.com/office/drawing/2014/main" id="{5B1CA8A0-C2B5-1C59-E732-78017EF2D9DC}"/>
                    </a:ext>
                  </a:extLst>
                </p:cNvPr>
                <p:cNvSpPr/>
                <p:nvPr/>
              </p:nvSpPr>
              <p:spPr>
                <a:xfrm>
                  <a:off x="6990429" y="1189044"/>
                  <a:ext cx="1225724" cy="122572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4CB617CF-DC25-D099-F3F1-9526904BF653}"/>
                    </a:ext>
                  </a:extLst>
                </p:cNvPr>
                <p:cNvSpPr/>
                <p:nvPr/>
              </p:nvSpPr>
              <p:spPr>
                <a:xfrm>
                  <a:off x="7106665" y="1305280"/>
                  <a:ext cx="993252" cy="9932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AEE30E26-4232-BC15-C4A6-53BC2A5930EE}"/>
                    </a:ext>
                  </a:extLst>
                </p:cNvPr>
                <p:cNvSpPr/>
                <p:nvPr/>
              </p:nvSpPr>
              <p:spPr>
                <a:xfrm>
                  <a:off x="7207061" y="1405676"/>
                  <a:ext cx="792461" cy="792461"/>
                </a:xfrm>
                <a:prstGeom prst="ellipse">
                  <a:avLst/>
                </a:prstGeom>
                <a:gradFill flip="none" rotWithShape="1">
                  <a:gsLst>
                    <a:gs pos="0">
                      <a:schemeClr val="bg1">
                        <a:lumMod val="85000"/>
                      </a:schemeClr>
                    </a:gs>
                    <a:gs pos="100000">
                      <a:schemeClr val="bg1"/>
                    </a:gs>
                  </a:gsLst>
                  <a:lin ang="5400000" scaled="1"/>
                  <a:tileRect/>
                </a:gradFill>
                <a:ln w="285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2" name="Group 31">
              <a:extLst>
                <a:ext uri="{FF2B5EF4-FFF2-40B4-BE49-F238E27FC236}">
                  <a16:creationId xmlns:a16="http://schemas.microsoft.com/office/drawing/2014/main" id="{BABA4138-D573-2E11-E9BC-9A50ABC22939}"/>
                </a:ext>
              </a:extLst>
            </p:cNvPr>
            <p:cNvGrpSpPr/>
            <p:nvPr/>
          </p:nvGrpSpPr>
          <p:grpSpPr>
            <a:xfrm>
              <a:off x="877449" y="4896851"/>
              <a:ext cx="1973536" cy="1681120"/>
              <a:chOff x="350992" y="4436483"/>
              <a:chExt cx="2094741" cy="1681120"/>
            </a:xfrm>
          </p:grpSpPr>
          <p:sp>
            <p:nvSpPr>
              <p:cNvPr id="33" name="TextBox 32">
                <a:extLst>
                  <a:ext uri="{FF2B5EF4-FFF2-40B4-BE49-F238E27FC236}">
                    <a16:creationId xmlns:a16="http://schemas.microsoft.com/office/drawing/2014/main" id="{8F862D5D-BF7C-1431-E3F2-56099D5636BB}"/>
                  </a:ext>
                </a:extLst>
              </p:cNvPr>
              <p:cNvSpPr txBox="1"/>
              <p:nvPr/>
            </p:nvSpPr>
            <p:spPr>
              <a:xfrm>
                <a:off x="350992" y="5040385"/>
                <a:ext cx="2094741" cy="1077218"/>
              </a:xfrm>
              <a:prstGeom prst="rect">
                <a:avLst/>
              </a:prstGeom>
              <a:noFill/>
            </p:spPr>
            <p:txBody>
              <a:bodyPr wrap="square" rtlCol="0">
                <a:spAutoFit/>
              </a:bodyPr>
              <a:lstStyle/>
              <a:p>
                <a:pPr lvl="0" algn="ctr"/>
                <a:r>
                  <a:rPr lang="en-US" sz="1600" dirty="0"/>
                  <a:t>Support, bug fixes, maintenance to the project is not available  </a:t>
                </a:r>
              </a:p>
            </p:txBody>
          </p:sp>
          <p:sp>
            <p:nvSpPr>
              <p:cNvPr id="34" name="TextBox 33">
                <a:extLst>
                  <a:ext uri="{FF2B5EF4-FFF2-40B4-BE49-F238E27FC236}">
                    <a16:creationId xmlns:a16="http://schemas.microsoft.com/office/drawing/2014/main" id="{BF1160A7-0965-7215-C73F-15B05CEC8D27}"/>
                  </a:ext>
                </a:extLst>
              </p:cNvPr>
              <p:cNvSpPr txBox="1"/>
              <p:nvPr/>
            </p:nvSpPr>
            <p:spPr>
              <a:xfrm>
                <a:off x="350992" y="4436483"/>
                <a:ext cx="2094741" cy="584775"/>
              </a:xfrm>
              <a:prstGeom prst="rect">
                <a:avLst/>
              </a:prstGeom>
              <a:noFill/>
            </p:spPr>
            <p:txBody>
              <a:bodyPr wrap="square" rtlCol="0">
                <a:spAutoFit/>
              </a:bodyPr>
              <a:lstStyle/>
              <a:p>
                <a:pPr lvl="0" algn="ctr"/>
                <a:r>
                  <a:rPr lang="en-US" sz="1600" b="1" dirty="0"/>
                  <a:t>Support </a:t>
                </a:r>
                <a:br>
                  <a:rPr lang="en-US" sz="1600" b="1" dirty="0"/>
                </a:br>
                <a:r>
                  <a:rPr lang="en-US" sz="1600" b="1" dirty="0"/>
                  <a:t>is not reliable</a:t>
                </a:r>
              </a:p>
            </p:txBody>
          </p:sp>
        </p:grpSp>
      </p:grpSp>
      <p:grpSp>
        <p:nvGrpSpPr>
          <p:cNvPr id="41" name="Group 40">
            <a:extLst>
              <a:ext uri="{FF2B5EF4-FFF2-40B4-BE49-F238E27FC236}">
                <a16:creationId xmlns:a16="http://schemas.microsoft.com/office/drawing/2014/main" id="{6245CAA8-46EA-6195-2F2C-C4DC12B4CB6A}"/>
              </a:ext>
            </a:extLst>
          </p:cNvPr>
          <p:cNvGrpSpPr/>
          <p:nvPr/>
        </p:nvGrpSpPr>
        <p:grpSpPr>
          <a:xfrm>
            <a:off x="7465092" y="1148838"/>
            <a:ext cx="1973536" cy="4582114"/>
            <a:chOff x="877449" y="1503414"/>
            <a:chExt cx="1973536" cy="4582114"/>
          </a:xfrm>
        </p:grpSpPr>
        <p:grpSp>
          <p:nvGrpSpPr>
            <p:cNvPr id="42" name="Group 41">
              <a:extLst>
                <a:ext uri="{FF2B5EF4-FFF2-40B4-BE49-F238E27FC236}">
                  <a16:creationId xmlns:a16="http://schemas.microsoft.com/office/drawing/2014/main" id="{CF140E20-A95C-21DA-E1AC-2A46DF8E80AB}"/>
                </a:ext>
              </a:extLst>
            </p:cNvPr>
            <p:cNvGrpSpPr/>
            <p:nvPr/>
          </p:nvGrpSpPr>
          <p:grpSpPr>
            <a:xfrm>
              <a:off x="1146597" y="1503414"/>
              <a:ext cx="1435240" cy="3075222"/>
              <a:chOff x="1603796" y="1315155"/>
              <a:chExt cx="1435240" cy="3075222"/>
            </a:xfrm>
          </p:grpSpPr>
          <p:sp>
            <p:nvSpPr>
              <p:cNvPr id="46" name="Arrow: Pentagon 45">
                <a:extLst>
                  <a:ext uri="{FF2B5EF4-FFF2-40B4-BE49-F238E27FC236}">
                    <a16:creationId xmlns:a16="http://schemas.microsoft.com/office/drawing/2014/main" id="{CCFDFAA7-1990-B93B-8577-9884E701CC26}"/>
                  </a:ext>
                </a:extLst>
              </p:cNvPr>
              <p:cNvSpPr/>
              <p:nvPr/>
            </p:nvSpPr>
            <p:spPr>
              <a:xfrm rot="5604118">
                <a:off x="1297735" y="3161540"/>
                <a:ext cx="1939785" cy="517889"/>
              </a:xfrm>
              <a:prstGeom prst="homePlat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Arrow: Pentagon 46">
                <a:extLst>
                  <a:ext uri="{FF2B5EF4-FFF2-40B4-BE49-F238E27FC236}">
                    <a16:creationId xmlns:a16="http://schemas.microsoft.com/office/drawing/2014/main" id="{8C183921-5D8E-3B42-CFEA-8A565216D971}"/>
                  </a:ext>
                </a:extLst>
              </p:cNvPr>
              <p:cNvSpPr/>
              <p:nvPr/>
            </p:nvSpPr>
            <p:spPr>
              <a:xfrm rot="5400000">
                <a:off x="1351524" y="3161540"/>
                <a:ext cx="1939785" cy="517889"/>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8" name="Group 47">
                <a:extLst>
                  <a:ext uri="{FF2B5EF4-FFF2-40B4-BE49-F238E27FC236}">
                    <a16:creationId xmlns:a16="http://schemas.microsoft.com/office/drawing/2014/main" id="{757EE8B9-F4B7-ADA4-714D-2498D9335D78}"/>
                  </a:ext>
                </a:extLst>
              </p:cNvPr>
              <p:cNvGrpSpPr/>
              <p:nvPr/>
            </p:nvGrpSpPr>
            <p:grpSpPr>
              <a:xfrm>
                <a:off x="1603796" y="1315155"/>
                <a:ext cx="1435240" cy="1435240"/>
                <a:chOff x="6990429" y="1189044"/>
                <a:chExt cx="1225724" cy="1225724"/>
              </a:xfrm>
            </p:grpSpPr>
            <p:sp>
              <p:nvSpPr>
                <p:cNvPr id="49" name="Oval 48">
                  <a:extLst>
                    <a:ext uri="{FF2B5EF4-FFF2-40B4-BE49-F238E27FC236}">
                      <a16:creationId xmlns:a16="http://schemas.microsoft.com/office/drawing/2014/main" id="{CC643A7F-5EF8-247F-56BC-2E01348C34AC}"/>
                    </a:ext>
                  </a:extLst>
                </p:cNvPr>
                <p:cNvSpPr/>
                <p:nvPr/>
              </p:nvSpPr>
              <p:spPr>
                <a:xfrm>
                  <a:off x="6990429" y="1189044"/>
                  <a:ext cx="1225724" cy="122572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Oval 49">
                  <a:extLst>
                    <a:ext uri="{FF2B5EF4-FFF2-40B4-BE49-F238E27FC236}">
                      <a16:creationId xmlns:a16="http://schemas.microsoft.com/office/drawing/2014/main" id="{A5AC01ED-1C2E-FCF9-D4D0-DFEEB2B7C3FC}"/>
                    </a:ext>
                  </a:extLst>
                </p:cNvPr>
                <p:cNvSpPr/>
                <p:nvPr/>
              </p:nvSpPr>
              <p:spPr>
                <a:xfrm>
                  <a:off x="7106665" y="1305280"/>
                  <a:ext cx="993252" cy="9932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id="{9367DC0C-AA2C-8FA7-B883-FA1916CAB7AD}"/>
                    </a:ext>
                  </a:extLst>
                </p:cNvPr>
                <p:cNvSpPr/>
                <p:nvPr/>
              </p:nvSpPr>
              <p:spPr>
                <a:xfrm>
                  <a:off x="7207061" y="1405676"/>
                  <a:ext cx="792461" cy="792461"/>
                </a:xfrm>
                <a:prstGeom prst="ellipse">
                  <a:avLst/>
                </a:prstGeom>
                <a:gradFill flip="none" rotWithShape="1">
                  <a:gsLst>
                    <a:gs pos="0">
                      <a:schemeClr val="bg1">
                        <a:lumMod val="85000"/>
                      </a:schemeClr>
                    </a:gs>
                    <a:gs pos="100000">
                      <a:schemeClr val="bg1"/>
                    </a:gs>
                  </a:gsLst>
                  <a:lin ang="5400000" scaled="1"/>
                  <a:tileRect/>
                </a:gradFill>
                <a:ln w="285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43" name="Group 42">
              <a:extLst>
                <a:ext uri="{FF2B5EF4-FFF2-40B4-BE49-F238E27FC236}">
                  <a16:creationId xmlns:a16="http://schemas.microsoft.com/office/drawing/2014/main" id="{17195E6A-D65D-8CF2-8476-683BEB108376}"/>
                </a:ext>
              </a:extLst>
            </p:cNvPr>
            <p:cNvGrpSpPr/>
            <p:nvPr/>
          </p:nvGrpSpPr>
          <p:grpSpPr>
            <a:xfrm>
              <a:off x="877449" y="4896851"/>
              <a:ext cx="1973536" cy="1188677"/>
              <a:chOff x="350992" y="4436483"/>
              <a:chExt cx="2094741" cy="1188677"/>
            </a:xfrm>
          </p:grpSpPr>
          <p:sp>
            <p:nvSpPr>
              <p:cNvPr id="44" name="TextBox 43">
                <a:extLst>
                  <a:ext uri="{FF2B5EF4-FFF2-40B4-BE49-F238E27FC236}">
                    <a16:creationId xmlns:a16="http://schemas.microsoft.com/office/drawing/2014/main" id="{3F68C00E-0609-35BB-5D85-EF04FF306F5B}"/>
                  </a:ext>
                </a:extLst>
              </p:cNvPr>
              <p:cNvSpPr txBox="1"/>
              <p:nvPr/>
            </p:nvSpPr>
            <p:spPr>
              <a:xfrm>
                <a:off x="350992" y="5040385"/>
                <a:ext cx="2094741" cy="584775"/>
              </a:xfrm>
              <a:prstGeom prst="rect">
                <a:avLst/>
              </a:prstGeom>
              <a:noFill/>
            </p:spPr>
            <p:txBody>
              <a:bodyPr wrap="square" rtlCol="0">
                <a:spAutoFit/>
              </a:bodyPr>
              <a:lstStyle/>
              <a:p>
                <a:pPr lvl="0" algn="ctr"/>
                <a:r>
                  <a:rPr lang="en-US" sz="1600" dirty="0"/>
                  <a:t>Inactive community, less commits, etc.</a:t>
                </a:r>
              </a:p>
            </p:txBody>
          </p:sp>
          <p:sp>
            <p:nvSpPr>
              <p:cNvPr id="45" name="TextBox 44">
                <a:extLst>
                  <a:ext uri="{FF2B5EF4-FFF2-40B4-BE49-F238E27FC236}">
                    <a16:creationId xmlns:a16="http://schemas.microsoft.com/office/drawing/2014/main" id="{B4C36EC3-0A6D-8517-0B3E-1BDF4F943FA4}"/>
                  </a:ext>
                </a:extLst>
              </p:cNvPr>
              <p:cNvSpPr txBox="1"/>
              <p:nvPr/>
            </p:nvSpPr>
            <p:spPr>
              <a:xfrm>
                <a:off x="350992" y="4436483"/>
                <a:ext cx="2094741" cy="584775"/>
              </a:xfrm>
              <a:prstGeom prst="rect">
                <a:avLst/>
              </a:prstGeom>
              <a:noFill/>
            </p:spPr>
            <p:txBody>
              <a:bodyPr wrap="square" rtlCol="0">
                <a:spAutoFit/>
              </a:bodyPr>
              <a:lstStyle/>
              <a:p>
                <a:pPr lvl="0" algn="ctr"/>
                <a:r>
                  <a:rPr lang="en-US" sz="1600" b="1" dirty="0"/>
                  <a:t>Operational </a:t>
                </a:r>
              </a:p>
              <a:p>
                <a:pPr lvl="0" algn="ctr"/>
                <a:r>
                  <a:rPr lang="en-US" sz="1600" b="1" dirty="0"/>
                  <a:t>Risk</a:t>
                </a:r>
              </a:p>
            </p:txBody>
          </p:sp>
        </p:grpSp>
      </p:grpSp>
      <p:grpSp>
        <p:nvGrpSpPr>
          <p:cNvPr id="52" name="Group 51">
            <a:extLst>
              <a:ext uri="{FF2B5EF4-FFF2-40B4-BE49-F238E27FC236}">
                <a16:creationId xmlns:a16="http://schemas.microsoft.com/office/drawing/2014/main" id="{D61B968B-87D0-345E-270A-FB26D360EB29}"/>
              </a:ext>
            </a:extLst>
          </p:cNvPr>
          <p:cNvGrpSpPr/>
          <p:nvPr/>
        </p:nvGrpSpPr>
        <p:grpSpPr>
          <a:xfrm>
            <a:off x="9820953" y="1148838"/>
            <a:ext cx="1973536" cy="4828336"/>
            <a:chOff x="877449" y="1503414"/>
            <a:chExt cx="1973536" cy="4828336"/>
          </a:xfrm>
        </p:grpSpPr>
        <p:grpSp>
          <p:nvGrpSpPr>
            <p:cNvPr id="53" name="Group 52">
              <a:extLst>
                <a:ext uri="{FF2B5EF4-FFF2-40B4-BE49-F238E27FC236}">
                  <a16:creationId xmlns:a16="http://schemas.microsoft.com/office/drawing/2014/main" id="{5273E5A7-0637-362B-2C02-F01A0BACF24F}"/>
                </a:ext>
              </a:extLst>
            </p:cNvPr>
            <p:cNvGrpSpPr/>
            <p:nvPr/>
          </p:nvGrpSpPr>
          <p:grpSpPr>
            <a:xfrm>
              <a:off x="1146597" y="1503414"/>
              <a:ext cx="1435240" cy="3075222"/>
              <a:chOff x="1603796" y="1315155"/>
              <a:chExt cx="1435240" cy="3075222"/>
            </a:xfrm>
          </p:grpSpPr>
          <p:sp>
            <p:nvSpPr>
              <p:cNvPr id="57" name="Arrow: Pentagon 56">
                <a:extLst>
                  <a:ext uri="{FF2B5EF4-FFF2-40B4-BE49-F238E27FC236}">
                    <a16:creationId xmlns:a16="http://schemas.microsoft.com/office/drawing/2014/main" id="{9829BB87-DDD5-4AFA-FF08-A780C24123BC}"/>
                  </a:ext>
                </a:extLst>
              </p:cNvPr>
              <p:cNvSpPr/>
              <p:nvPr/>
            </p:nvSpPr>
            <p:spPr>
              <a:xfrm rot="5604118">
                <a:off x="1297735" y="3161540"/>
                <a:ext cx="1939785" cy="517889"/>
              </a:xfrm>
              <a:prstGeom prst="homePlat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Arrow: Pentagon 57">
                <a:extLst>
                  <a:ext uri="{FF2B5EF4-FFF2-40B4-BE49-F238E27FC236}">
                    <a16:creationId xmlns:a16="http://schemas.microsoft.com/office/drawing/2014/main" id="{C2C841B9-518A-3399-5C20-BAFD06705FFB}"/>
                  </a:ext>
                </a:extLst>
              </p:cNvPr>
              <p:cNvSpPr/>
              <p:nvPr/>
            </p:nvSpPr>
            <p:spPr>
              <a:xfrm rot="5400000">
                <a:off x="1351524" y="3161540"/>
                <a:ext cx="1939785" cy="517889"/>
              </a:xfrm>
              <a:prstGeom prst="homePlat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9" name="Group 58">
                <a:extLst>
                  <a:ext uri="{FF2B5EF4-FFF2-40B4-BE49-F238E27FC236}">
                    <a16:creationId xmlns:a16="http://schemas.microsoft.com/office/drawing/2014/main" id="{CA27182D-4BD6-2647-F4D0-D5AF1ADB5EB7}"/>
                  </a:ext>
                </a:extLst>
              </p:cNvPr>
              <p:cNvGrpSpPr/>
              <p:nvPr/>
            </p:nvGrpSpPr>
            <p:grpSpPr>
              <a:xfrm>
                <a:off x="1603796" y="1315155"/>
                <a:ext cx="1435240" cy="1435240"/>
                <a:chOff x="6990429" y="1189044"/>
                <a:chExt cx="1225724" cy="1225724"/>
              </a:xfrm>
            </p:grpSpPr>
            <p:sp>
              <p:nvSpPr>
                <p:cNvPr id="60" name="Oval 59">
                  <a:extLst>
                    <a:ext uri="{FF2B5EF4-FFF2-40B4-BE49-F238E27FC236}">
                      <a16:creationId xmlns:a16="http://schemas.microsoft.com/office/drawing/2014/main" id="{6CF332E8-CDBD-5335-0203-0E4260663042}"/>
                    </a:ext>
                  </a:extLst>
                </p:cNvPr>
                <p:cNvSpPr/>
                <p:nvPr/>
              </p:nvSpPr>
              <p:spPr>
                <a:xfrm>
                  <a:off x="6990429" y="1189044"/>
                  <a:ext cx="1225724" cy="122572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id="{38B2A858-EF78-A417-6825-E12BB1596450}"/>
                    </a:ext>
                  </a:extLst>
                </p:cNvPr>
                <p:cNvSpPr/>
                <p:nvPr/>
              </p:nvSpPr>
              <p:spPr>
                <a:xfrm>
                  <a:off x="7106665" y="1305280"/>
                  <a:ext cx="993252" cy="9932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a:extLst>
                    <a:ext uri="{FF2B5EF4-FFF2-40B4-BE49-F238E27FC236}">
                      <a16:creationId xmlns:a16="http://schemas.microsoft.com/office/drawing/2014/main" id="{4B02BA5D-9A51-929E-D82A-CDCF9D9D1783}"/>
                    </a:ext>
                  </a:extLst>
                </p:cNvPr>
                <p:cNvSpPr/>
                <p:nvPr/>
              </p:nvSpPr>
              <p:spPr>
                <a:xfrm>
                  <a:off x="7207061" y="1405676"/>
                  <a:ext cx="792461" cy="792461"/>
                </a:xfrm>
                <a:prstGeom prst="ellipse">
                  <a:avLst/>
                </a:prstGeom>
                <a:gradFill flip="none" rotWithShape="1">
                  <a:gsLst>
                    <a:gs pos="0">
                      <a:schemeClr val="bg1">
                        <a:lumMod val="85000"/>
                      </a:schemeClr>
                    </a:gs>
                    <a:gs pos="100000">
                      <a:schemeClr val="bg1"/>
                    </a:gs>
                  </a:gsLst>
                  <a:lin ang="5400000" scaled="1"/>
                  <a:tileRect/>
                </a:gradFill>
                <a:ln w="285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54" name="Group 53">
              <a:extLst>
                <a:ext uri="{FF2B5EF4-FFF2-40B4-BE49-F238E27FC236}">
                  <a16:creationId xmlns:a16="http://schemas.microsoft.com/office/drawing/2014/main" id="{3F8E8B19-B3B6-1EBF-FF68-92A0EAB8FA75}"/>
                </a:ext>
              </a:extLst>
            </p:cNvPr>
            <p:cNvGrpSpPr/>
            <p:nvPr/>
          </p:nvGrpSpPr>
          <p:grpSpPr>
            <a:xfrm>
              <a:off x="877449" y="4896851"/>
              <a:ext cx="1973536" cy="1434899"/>
              <a:chOff x="350992" y="4436483"/>
              <a:chExt cx="2094741" cy="1434899"/>
            </a:xfrm>
          </p:grpSpPr>
          <p:sp>
            <p:nvSpPr>
              <p:cNvPr id="55" name="TextBox 54">
                <a:extLst>
                  <a:ext uri="{FF2B5EF4-FFF2-40B4-BE49-F238E27FC236}">
                    <a16:creationId xmlns:a16="http://schemas.microsoft.com/office/drawing/2014/main" id="{896DC751-0534-2C6B-97E0-80CA588BF955}"/>
                  </a:ext>
                </a:extLst>
              </p:cNvPr>
              <p:cNvSpPr txBox="1"/>
              <p:nvPr/>
            </p:nvSpPr>
            <p:spPr>
              <a:xfrm>
                <a:off x="350992" y="5040385"/>
                <a:ext cx="2094741" cy="830997"/>
              </a:xfrm>
              <a:prstGeom prst="rect">
                <a:avLst/>
              </a:prstGeom>
              <a:noFill/>
            </p:spPr>
            <p:txBody>
              <a:bodyPr wrap="square" rtlCol="0">
                <a:spAutoFit/>
              </a:bodyPr>
              <a:lstStyle/>
              <a:p>
                <a:pPr lvl="0" algn="ctr"/>
                <a:r>
                  <a:rPr lang="en-US" sz="1600" dirty="0"/>
                  <a:t>Finding of security vulnerabilities in projects</a:t>
                </a:r>
              </a:p>
            </p:txBody>
          </p:sp>
          <p:sp>
            <p:nvSpPr>
              <p:cNvPr id="56" name="TextBox 55">
                <a:extLst>
                  <a:ext uri="{FF2B5EF4-FFF2-40B4-BE49-F238E27FC236}">
                    <a16:creationId xmlns:a16="http://schemas.microsoft.com/office/drawing/2014/main" id="{18CC0F03-AC12-3C1F-F292-E23EC3391388}"/>
                  </a:ext>
                </a:extLst>
              </p:cNvPr>
              <p:cNvSpPr txBox="1"/>
              <p:nvPr/>
            </p:nvSpPr>
            <p:spPr>
              <a:xfrm>
                <a:off x="350992" y="4436483"/>
                <a:ext cx="2094741" cy="584775"/>
              </a:xfrm>
              <a:prstGeom prst="rect">
                <a:avLst/>
              </a:prstGeom>
              <a:noFill/>
            </p:spPr>
            <p:txBody>
              <a:bodyPr wrap="square" rtlCol="0">
                <a:spAutoFit/>
              </a:bodyPr>
              <a:lstStyle/>
              <a:p>
                <a:pPr lvl="0" algn="ctr"/>
                <a:r>
                  <a:rPr lang="en-US" sz="1600" b="1" dirty="0"/>
                  <a:t>Security becomes major issue</a:t>
                </a:r>
              </a:p>
            </p:txBody>
          </p:sp>
        </p:grpSp>
      </p:grpSp>
      <p:pic>
        <p:nvPicPr>
          <p:cNvPr id="7" name="Graphic 6" descr="Single gear">
            <a:extLst>
              <a:ext uri="{FF2B5EF4-FFF2-40B4-BE49-F238E27FC236}">
                <a16:creationId xmlns:a16="http://schemas.microsoft.com/office/drawing/2014/main" id="{2E207AF4-2747-19B6-8AFC-DDC8830A519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35815" y="1541502"/>
            <a:ext cx="632086" cy="632086"/>
          </a:xfrm>
          <a:prstGeom prst="rect">
            <a:avLst/>
          </a:prstGeom>
        </p:spPr>
      </p:pic>
      <p:pic>
        <p:nvPicPr>
          <p:cNvPr id="76" name="Graphic 75" descr="Bar graph with upward trend">
            <a:extLst>
              <a:ext uri="{FF2B5EF4-FFF2-40B4-BE49-F238E27FC236}">
                <a16:creationId xmlns:a16="http://schemas.microsoft.com/office/drawing/2014/main" id="{14BF7CEF-E32E-46C6-31E5-AE2B9ED711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469242" y="1581121"/>
            <a:ext cx="544972" cy="544972"/>
          </a:xfrm>
          <a:prstGeom prst="rect">
            <a:avLst/>
          </a:prstGeom>
        </p:spPr>
      </p:pic>
      <p:pic>
        <p:nvPicPr>
          <p:cNvPr id="77" name="Graphic 76" descr="Briefcase">
            <a:extLst>
              <a:ext uri="{FF2B5EF4-FFF2-40B4-BE49-F238E27FC236}">
                <a16:creationId xmlns:a16="http://schemas.microsoft.com/office/drawing/2014/main" id="{92A35353-1014-D244-D301-E19573F2DFE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49814" y="1617553"/>
            <a:ext cx="472108" cy="472108"/>
          </a:xfrm>
          <a:prstGeom prst="rect">
            <a:avLst/>
          </a:prstGeom>
        </p:spPr>
      </p:pic>
      <p:grpSp>
        <p:nvGrpSpPr>
          <p:cNvPr id="78" name="Group 77">
            <a:extLst>
              <a:ext uri="{FF2B5EF4-FFF2-40B4-BE49-F238E27FC236}">
                <a16:creationId xmlns:a16="http://schemas.microsoft.com/office/drawing/2014/main" id="{1142581D-4B3A-6A7C-20FA-32FF9BDEDF02}"/>
              </a:ext>
            </a:extLst>
          </p:cNvPr>
          <p:cNvGrpSpPr/>
          <p:nvPr/>
        </p:nvGrpSpPr>
        <p:grpSpPr>
          <a:xfrm>
            <a:off x="5788000" y="1733791"/>
            <a:ext cx="620393" cy="371697"/>
            <a:chOff x="5739859" y="2098920"/>
            <a:chExt cx="620393" cy="371697"/>
          </a:xfrm>
          <a:solidFill>
            <a:schemeClr val="tx1">
              <a:lumMod val="75000"/>
              <a:lumOff val="25000"/>
            </a:schemeClr>
          </a:solidFill>
        </p:grpSpPr>
        <p:sp>
          <p:nvSpPr>
            <p:cNvPr id="79" name="Freeform: Shape 78">
              <a:extLst>
                <a:ext uri="{FF2B5EF4-FFF2-40B4-BE49-F238E27FC236}">
                  <a16:creationId xmlns:a16="http://schemas.microsoft.com/office/drawing/2014/main" id="{D3DA8EC9-9AD9-05A5-693E-F9A28A63102F}"/>
                </a:ext>
              </a:extLst>
            </p:cNvPr>
            <p:cNvSpPr/>
            <p:nvPr/>
          </p:nvSpPr>
          <p:spPr>
            <a:xfrm>
              <a:off x="6012427" y="2399365"/>
              <a:ext cx="50036" cy="57184"/>
            </a:xfrm>
            <a:custGeom>
              <a:avLst/>
              <a:gdLst>
                <a:gd name="connsiteX0" fmla="*/ 20651 w 66675"/>
                <a:gd name="connsiteY0" fmla="*/ 80659 h 76200"/>
                <a:gd name="connsiteX1" fmla="*/ 6364 w 66675"/>
                <a:gd name="connsiteY1" fmla="*/ 75896 h 76200"/>
                <a:gd name="connsiteX2" fmla="*/ 4459 w 66675"/>
                <a:gd name="connsiteY2" fmla="*/ 49226 h 76200"/>
                <a:gd name="connsiteX3" fmla="*/ 41606 w 66675"/>
                <a:gd name="connsiteY3" fmla="*/ 6364 h 76200"/>
                <a:gd name="connsiteX4" fmla="*/ 68276 w 66675"/>
                <a:gd name="connsiteY4" fmla="*/ 4459 h 76200"/>
                <a:gd name="connsiteX5" fmla="*/ 70181 w 66675"/>
                <a:gd name="connsiteY5" fmla="*/ 31129 h 76200"/>
                <a:gd name="connsiteX6" fmla="*/ 33034 w 66675"/>
                <a:gd name="connsiteY6" fmla="*/ 73991 h 76200"/>
                <a:gd name="connsiteX7" fmla="*/ 20651 w 66675"/>
                <a:gd name="connsiteY7" fmla="*/ 80659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675" h="76200">
                  <a:moveTo>
                    <a:pt x="20651" y="80659"/>
                  </a:moveTo>
                  <a:cubicBezTo>
                    <a:pt x="15889" y="80659"/>
                    <a:pt x="10174" y="79706"/>
                    <a:pt x="6364" y="75896"/>
                  </a:cubicBezTo>
                  <a:cubicBezTo>
                    <a:pt x="-1256" y="69229"/>
                    <a:pt x="-2209" y="56846"/>
                    <a:pt x="4459" y="49226"/>
                  </a:cubicBezTo>
                  <a:lnTo>
                    <a:pt x="41606" y="6364"/>
                  </a:lnTo>
                  <a:cubicBezTo>
                    <a:pt x="48274" y="-1256"/>
                    <a:pt x="60656" y="-2209"/>
                    <a:pt x="68276" y="4459"/>
                  </a:cubicBezTo>
                  <a:cubicBezTo>
                    <a:pt x="75896" y="11126"/>
                    <a:pt x="76849" y="23509"/>
                    <a:pt x="70181" y="31129"/>
                  </a:cubicBezTo>
                  <a:lnTo>
                    <a:pt x="33034" y="73991"/>
                  </a:lnTo>
                  <a:cubicBezTo>
                    <a:pt x="30176" y="77801"/>
                    <a:pt x="25414" y="79706"/>
                    <a:pt x="20651" y="80659"/>
                  </a:cubicBezTo>
                  <a:close/>
                </a:path>
              </a:pathLst>
            </a:custGeom>
            <a:grpFill/>
            <a:ln w="9525"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2558D10E-A170-5D98-3138-BA932FFF0A2D}"/>
                </a:ext>
              </a:extLst>
            </p:cNvPr>
            <p:cNvSpPr/>
            <p:nvPr/>
          </p:nvSpPr>
          <p:spPr>
            <a:xfrm>
              <a:off x="5964901" y="2370424"/>
              <a:ext cx="64332" cy="71480"/>
            </a:xfrm>
            <a:custGeom>
              <a:avLst/>
              <a:gdLst>
                <a:gd name="connsiteX0" fmla="*/ 25879 w 85725"/>
                <a:gd name="connsiteY0" fmla="*/ 97316 h 95250"/>
                <a:gd name="connsiteX1" fmla="*/ 7781 w 85725"/>
                <a:gd name="connsiteY1" fmla="*/ 91601 h 95250"/>
                <a:gd name="connsiteX2" fmla="*/ 5876 w 85725"/>
                <a:gd name="connsiteY2" fmla="*/ 58264 h 95250"/>
                <a:gd name="connsiteX3" fmla="*/ 49691 w 85725"/>
                <a:gd name="connsiteY3" fmla="*/ 7781 h 95250"/>
                <a:gd name="connsiteX4" fmla="*/ 83029 w 85725"/>
                <a:gd name="connsiteY4" fmla="*/ 5876 h 95250"/>
                <a:gd name="connsiteX5" fmla="*/ 84934 w 85725"/>
                <a:gd name="connsiteY5" fmla="*/ 39214 h 95250"/>
                <a:gd name="connsiteX6" fmla="*/ 41119 w 85725"/>
                <a:gd name="connsiteY6" fmla="*/ 89696 h 95250"/>
                <a:gd name="connsiteX7" fmla="*/ 25879 w 85725"/>
                <a:gd name="connsiteY7" fmla="*/ 97316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5" h="95250">
                  <a:moveTo>
                    <a:pt x="25879" y="97316"/>
                  </a:moveTo>
                  <a:cubicBezTo>
                    <a:pt x="19211" y="98269"/>
                    <a:pt x="13496" y="96364"/>
                    <a:pt x="7781" y="91601"/>
                  </a:cubicBezTo>
                  <a:cubicBezTo>
                    <a:pt x="-1744" y="83029"/>
                    <a:pt x="-2696" y="67789"/>
                    <a:pt x="5876" y="58264"/>
                  </a:cubicBezTo>
                  <a:lnTo>
                    <a:pt x="49691" y="7781"/>
                  </a:lnTo>
                  <a:cubicBezTo>
                    <a:pt x="58264" y="-1744"/>
                    <a:pt x="73504" y="-2696"/>
                    <a:pt x="83029" y="5876"/>
                  </a:cubicBezTo>
                  <a:cubicBezTo>
                    <a:pt x="92554" y="14449"/>
                    <a:pt x="93506" y="29689"/>
                    <a:pt x="84934" y="39214"/>
                  </a:cubicBezTo>
                  <a:lnTo>
                    <a:pt x="41119" y="89696"/>
                  </a:lnTo>
                  <a:cubicBezTo>
                    <a:pt x="37309" y="94459"/>
                    <a:pt x="31594" y="97316"/>
                    <a:pt x="25879" y="97316"/>
                  </a:cubicBezTo>
                  <a:close/>
                </a:path>
              </a:pathLst>
            </a:custGeom>
            <a:grpFill/>
            <a:ln w="9525"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A6973278-6B4D-F489-BD81-6BD21A0C392F}"/>
                </a:ext>
              </a:extLst>
            </p:cNvPr>
            <p:cNvSpPr/>
            <p:nvPr/>
          </p:nvSpPr>
          <p:spPr>
            <a:xfrm>
              <a:off x="5916254" y="2336787"/>
              <a:ext cx="71480" cy="78628"/>
            </a:xfrm>
            <a:custGeom>
              <a:avLst/>
              <a:gdLst>
                <a:gd name="connsiteX0" fmla="*/ 30696 w 95250"/>
                <a:gd name="connsiteY0" fmla="*/ 106896 h 104775"/>
                <a:gd name="connsiteX1" fmla="*/ 9741 w 95250"/>
                <a:gd name="connsiteY1" fmla="*/ 100228 h 104775"/>
                <a:gd name="connsiteX2" fmla="*/ 6883 w 95250"/>
                <a:gd name="connsiteY2" fmla="*/ 60223 h 104775"/>
                <a:gd name="connsiteX3" fmla="*/ 50698 w 95250"/>
                <a:gd name="connsiteY3" fmla="*/ 9741 h 104775"/>
                <a:gd name="connsiteX4" fmla="*/ 90703 w 95250"/>
                <a:gd name="connsiteY4" fmla="*/ 6883 h 104775"/>
                <a:gd name="connsiteX5" fmla="*/ 93561 w 95250"/>
                <a:gd name="connsiteY5" fmla="*/ 46888 h 104775"/>
                <a:gd name="connsiteX6" fmla="*/ 49746 w 95250"/>
                <a:gd name="connsiteY6" fmla="*/ 97371 h 104775"/>
                <a:gd name="connsiteX7" fmla="*/ 30696 w 95250"/>
                <a:gd name="connsiteY7" fmla="*/ 106896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50" h="104775">
                  <a:moveTo>
                    <a:pt x="30696" y="106896"/>
                  </a:moveTo>
                  <a:cubicBezTo>
                    <a:pt x="23076" y="107848"/>
                    <a:pt x="15456" y="104991"/>
                    <a:pt x="9741" y="100228"/>
                  </a:cubicBezTo>
                  <a:cubicBezTo>
                    <a:pt x="-1689" y="89751"/>
                    <a:pt x="-3594" y="71653"/>
                    <a:pt x="6883" y="60223"/>
                  </a:cubicBezTo>
                  <a:lnTo>
                    <a:pt x="50698" y="9741"/>
                  </a:lnTo>
                  <a:cubicBezTo>
                    <a:pt x="61176" y="-1689"/>
                    <a:pt x="79273" y="-3594"/>
                    <a:pt x="90703" y="6883"/>
                  </a:cubicBezTo>
                  <a:cubicBezTo>
                    <a:pt x="102133" y="17361"/>
                    <a:pt x="104038" y="35458"/>
                    <a:pt x="93561" y="46888"/>
                  </a:cubicBezTo>
                  <a:lnTo>
                    <a:pt x="49746" y="97371"/>
                  </a:lnTo>
                  <a:cubicBezTo>
                    <a:pt x="44983" y="103086"/>
                    <a:pt x="37363" y="106896"/>
                    <a:pt x="30696" y="106896"/>
                  </a:cubicBezTo>
                  <a:close/>
                </a:path>
              </a:pathLst>
            </a:custGeom>
            <a:grpFill/>
            <a:ln w="9525"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6C452A2C-97EA-434A-5D4F-8F73A07C41DD}"/>
                </a:ext>
              </a:extLst>
            </p:cNvPr>
            <p:cNvSpPr/>
            <p:nvPr/>
          </p:nvSpPr>
          <p:spPr>
            <a:xfrm>
              <a:off x="5864073" y="2305336"/>
              <a:ext cx="78628" cy="78628"/>
            </a:xfrm>
            <a:custGeom>
              <a:avLst/>
              <a:gdLst>
                <a:gd name="connsiteX0" fmla="*/ 30696 w 104775"/>
                <a:gd name="connsiteY0" fmla="*/ 113563 h 104775"/>
                <a:gd name="connsiteX1" fmla="*/ 9741 w 104775"/>
                <a:gd name="connsiteY1" fmla="*/ 106896 h 104775"/>
                <a:gd name="connsiteX2" fmla="*/ 6883 w 104775"/>
                <a:gd name="connsiteY2" fmla="*/ 66891 h 104775"/>
                <a:gd name="connsiteX3" fmla="*/ 57366 w 104775"/>
                <a:gd name="connsiteY3" fmla="*/ 9741 h 104775"/>
                <a:gd name="connsiteX4" fmla="*/ 97371 w 104775"/>
                <a:gd name="connsiteY4" fmla="*/ 6883 h 104775"/>
                <a:gd name="connsiteX5" fmla="*/ 100228 w 104775"/>
                <a:gd name="connsiteY5" fmla="*/ 46888 h 104775"/>
                <a:gd name="connsiteX6" fmla="*/ 49746 w 104775"/>
                <a:gd name="connsiteY6" fmla="*/ 104038 h 104775"/>
                <a:gd name="connsiteX7" fmla="*/ 30696 w 104775"/>
                <a:gd name="connsiteY7" fmla="*/ 113563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75" h="104775">
                  <a:moveTo>
                    <a:pt x="30696" y="113563"/>
                  </a:moveTo>
                  <a:cubicBezTo>
                    <a:pt x="23076" y="114516"/>
                    <a:pt x="15456" y="111658"/>
                    <a:pt x="9741" y="106896"/>
                  </a:cubicBezTo>
                  <a:cubicBezTo>
                    <a:pt x="-1689" y="96418"/>
                    <a:pt x="-3594" y="78321"/>
                    <a:pt x="6883" y="66891"/>
                  </a:cubicBezTo>
                  <a:lnTo>
                    <a:pt x="57366" y="9741"/>
                  </a:lnTo>
                  <a:cubicBezTo>
                    <a:pt x="67843" y="-1689"/>
                    <a:pt x="85941" y="-3594"/>
                    <a:pt x="97371" y="6883"/>
                  </a:cubicBezTo>
                  <a:cubicBezTo>
                    <a:pt x="108801" y="17361"/>
                    <a:pt x="110706" y="35458"/>
                    <a:pt x="100228" y="46888"/>
                  </a:cubicBezTo>
                  <a:lnTo>
                    <a:pt x="49746" y="104038"/>
                  </a:lnTo>
                  <a:cubicBezTo>
                    <a:pt x="44031" y="109753"/>
                    <a:pt x="37363" y="112611"/>
                    <a:pt x="30696" y="113563"/>
                  </a:cubicBezTo>
                  <a:close/>
                </a:path>
              </a:pathLst>
            </a:custGeom>
            <a:grpFill/>
            <a:ln w="9525"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9CD52FD9-29BB-2CC2-C67C-043539AEEC09}"/>
                </a:ext>
              </a:extLst>
            </p:cNvPr>
            <p:cNvSpPr/>
            <p:nvPr/>
          </p:nvSpPr>
          <p:spPr>
            <a:xfrm>
              <a:off x="5739859" y="2098920"/>
              <a:ext cx="142961" cy="164405"/>
            </a:xfrm>
            <a:custGeom>
              <a:avLst/>
              <a:gdLst>
                <a:gd name="connsiteX0" fmla="*/ 0 w 190500"/>
                <a:gd name="connsiteY0" fmla="*/ 179070 h 219075"/>
                <a:gd name="connsiteX1" fmla="*/ 73343 w 190500"/>
                <a:gd name="connsiteY1" fmla="*/ 223838 h 219075"/>
                <a:gd name="connsiteX2" fmla="*/ 99060 w 190500"/>
                <a:gd name="connsiteY2" fmla="*/ 217170 h 219075"/>
                <a:gd name="connsiteX3" fmla="*/ 187643 w 190500"/>
                <a:gd name="connsiteY3" fmla="*/ 70485 h 219075"/>
                <a:gd name="connsiteX4" fmla="*/ 180975 w 190500"/>
                <a:gd name="connsiteY4" fmla="*/ 44768 h 219075"/>
                <a:gd name="connsiteX5" fmla="*/ 108585 w 190500"/>
                <a:gd name="connsiteY5" fmla="*/ 0 h 219075"/>
                <a:gd name="connsiteX6" fmla="*/ 0 w 190500"/>
                <a:gd name="connsiteY6" fmla="*/ 179070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0" h="219075">
                  <a:moveTo>
                    <a:pt x="0" y="179070"/>
                  </a:moveTo>
                  <a:lnTo>
                    <a:pt x="73343" y="223838"/>
                  </a:lnTo>
                  <a:cubicBezTo>
                    <a:pt x="81915" y="229553"/>
                    <a:pt x="94298" y="226695"/>
                    <a:pt x="99060" y="217170"/>
                  </a:cubicBezTo>
                  <a:lnTo>
                    <a:pt x="187643" y="70485"/>
                  </a:lnTo>
                  <a:cubicBezTo>
                    <a:pt x="193358" y="61913"/>
                    <a:pt x="190500" y="49530"/>
                    <a:pt x="180975" y="44768"/>
                  </a:cubicBezTo>
                  <a:lnTo>
                    <a:pt x="108585" y="0"/>
                  </a:lnTo>
                  <a:lnTo>
                    <a:pt x="0" y="179070"/>
                  </a:lnTo>
                  <a:close/>
                </a:path>
              </a:pathLst>
            </a:custGeom>
            <a:grpFill/>
            <a:ln w="9525"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53F1592D-DFAF-83F0-72B5-711BB62A9F3A}"/>
                </a:ext>
              </a:extLst>
            </p:cNvPr>
            <p:cNvSpPr/>
            <p:nvPr/>
          </p:nvSpPr>
          <p:spPr>
            <a:xfrm>
              <a:off x="5827779" y="2163252"/>
              <a:ext cx="378846" cy="307365"/>
            </a:xfrm>
            <a:custGeom>
              <a:avLst/>
              <a:gdLst>
                <a:gd name="connsiteX0" fmla="*/ 500063 w 504825"/>
                <a:gd name="connsiteY0" fmla="*/ 218123 h 409575"/>
                <a:gd name="connsiteX1" fmla="*/ 346710 w 504825"/>
                <a:gd name="connsiteY1" fmla="*/ 86678 h 409575"/>
                <a:gd name="connsiteX2" fmla="*/ 336233 w 504825"/>
                <a:gd name="connsiteY2" fmla="*/ 77153 h 409575"/>
                <a:gd name="connsiteX3" fmla="*/ 270510 w 504825"/>
                <a:gd name="connsiteY3" fmla="*/ 152400 h 409575"/>
                <a:gd name="connsiteX4" fmla="*/ 232410 w 504825"/>
                <a:gd name="connsiteY4" fmla="*/ 171450 h 409575"/>
                <a:gd name="connsiteX5" fmla="*/ 227648 w 504825"/>
                <a:gd name="connsiteY5" fmla="*/ 171450 h 409575"/>
                <a:gd name="connsiteX6" fmla="*/ 190500 w 504825"/>
                <a:gd name="connsiteY6" fmla="*/ 157163 h 409575"/>
                <a:gd name="connsiteX7" fmla="*/ 184785 w 504825"/>
                <a:gd name="connsiteY7" fmla="*/ 76200 h 409575"/>
                <a:gd name="connsiteX8" fmla="*/ 240983 w 504825"/>
                <a:gd name="connsiteY8" fmla="*/ 11430 h 409575"/>
                <a:gd name="connsiteX9" fmla="*/ 82868 w 504825"/>
                <a:gd name="connsiteY9" fmla="*/ 0 h 409575"/>
                <a:gd name="connsiteX10" fmla="*/ 0 w 504825"/>
                <a:gd name="connsiteY10" fmla="*/ 137160 h 409575"/>
                <a:gd name="connsiteX11" fmla="*/ 64770 w 504825"/>
                <a:gd name="connsiteY11" fmla="*/ 212408 h 409575"/>
                <a:gd name="connsiteX12" fmla="*/ 89535 w 504825"/>
                <a:gd name="connsiteY12" fmla="*/ 183833 h 409575"/>
                <a:gd name="connsiteX13" fmla="*/ 125730 w 504825"/>
                <a:gd name="connsiteY13" fmla="*/ 167640 h 409575"/>
                <a:gd name="connsiteX14" fmla="*/ 125730 w 504825"/>
                <a:gd name="connsiteY14" fmla="*/ 167640 h 409575"/>
                <a:gd name="connsiteX15" fmla="*/ 157163 w 504825"/>
                <a:gd name="connsiteY15" fmla="*/ 179070 h 409575"/>
                <a:gd name="connsiteX16" fmla="*/ 173355 w 504825"/>
                <a:gd name="connsiteY16" fmla="*/ 213360 h 409575"/>
                <a:gd name="connsiteX17" fmla="*/ 189548 w 504825"/>
                <a:gd name="connsiteY17" fmla="*/ 210503 h 409575"/>
                <a:gd name="connsiteX18" fmla="*/ 220980 w 504825"/>
                <a:gd name="connsiteY18" fmla="*/ 221933 h 409575"/>
                <a:gd name="connsiteX19" fmla="*/ 237173 w 504825"/>
                <a:gd name="connsiteY19" fmla="*/ 257175 h 409575"/>
                <a:gd name="connsiteX20" fmla="*/ 249555 w 504825"/>
                <a:gd name="connsiteY20" fmla="*/ 255270 h 409575"/>
                <a:gd name="connsiteX21" fmla="*/ 249555 w 504825"/>
                <a:gd name="connsiteY21" fmla="*/ 255270 h 409575"/>
                <a:gd name="connsiteX22" fmla="*/ 278130 w 504825"/>
                <a:gd name="connsiteY22" fmla="*/ 265748 h 409575"/>
                <a:gd name="connsiteX23" fmla="*/ 292418 w 504825"/>
                <a:gd name="connsiteY23" fmla="*/ 295275 h 409575"/>
                <a:gd name="connsiteX24" fmla="*/ 302895 w 504825"/>
                <a:gd name="connsiteY24" fmla="*/ 293370 h 409575"/>
                <a:gd name="connsiteX25" fmla="*/ 302895 w 504825"/>
                <a:gd name="connsiteY25" fmla="*/ 293370 h 409575"/>
                <a:gd name="connsiteX26" fmla="*/ 327660 w 504825"/>
                <a:gd name="connsiteY26" fmla="*/ 302895 h 409575"/>
                <a:gd name="connsiteX27" fmla="*/ 340995 w 504825"/>
                <a:gd name="connsiteY27" fmla="*/ 328613 h 409575"/>
                <a:gd name="connsiteX28" fmla="*/ 331470 w 504825"/>
                <a:gd name="connsiteY28" fmla="*/ 356235 h 409575"/>
                <a:gd name="connsiteX29" fmla="*/ 299085 w 504825"/>
                <a:gd name="connsiteY29" fmla="*/ 393382 h 409575"/>
                <a:gd name="connsiteX30" fmla="*/ 312420 w 504825"/>
                <a:gd name="connsiteY30" fmla="*/ 403860 h 409575"/>
                <a:gd name="connsiteX31" fmla="*/ 335280 w 504825"/>
                <a:gd name="connsiteY31" fmla="*/ 409575 h 409575"/>
                <a:gd name="connsiteX32" fmla="*/ 369570 w 504825"/>
                <a:gd name="connsiteY32" fmla="*/ 368618 h 409575"/>
                <a:gd name="connsiteX33" fmla="*/ 369570 w 504825"/>
                <a:gd name="connsiteY33" fmla="*/ 367665 h 409575"/>
                <a:gd name="connsiteX34" fmla="*/ 379095 w 504825"/>
                <a:gd name="connsiteY34" fmla="*/ 368618 h 409575"/>
                <a:gd name="connsiteX35" fmla="*/ 413385 w 504825"/>
                <a:gd name="connsiteY35" fmla="*/ 327660 h 409575"/>
                <a:gd name="connsiteX36" fmla="*/ 413385 w 504825"/>
                <a:gd name="connsiteY36" fmla="*/ 326707 h 409575"/>
                <a:gd name="connsiteX37" fmla="*/ 422910 w 504825"/>
                <a:gd name="connsiteY37" fmla="*/ 327660 h 409575"/>
                <a:gd name="connsiteX38" fmla="*/ 457200 w 504825"/>
                <a:gd name="connsiteY38" fmla="*/ 286703 h 409575"/>
                <a:gd name="connsiteX39" fmla="*/ 456248 w 504825"/>
                <a:gd name="connsiteY39" fmla="*/ 280988 h 409575"/>
                <a:gd name="connsiteX40" fmla="*/ 476250 w 504825"/>
                <a:gd name="connsiteY40" fmla="*/ 284798 h 409575"/>
                <a:gd name="connsiteX41" fmla="*/ 510540 w 504825"/>
                <a:gd name="connsiteY41" fmla="*/ 243840 h 409575"/>
                <a:gd name="connsiteX42" fmla="*/ 500063 w 504825"/>
                <a:gd name="connsiteY42" fmla="*/ 218123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04825" h="409575">
                  <a:moveTo>
                    <a:pt x="500063" y="218123"/>
                  </a:moveTo>
                  <a:lnTo>
                    <a:pt x="346710" y="86678"/>
                  </a:lnTo>
                  <a:lnTo>
                    <a:pt x="336233" y="77153"/>
                  </a:lnTo>
                  <a:lnTo>
                    <a:pt x="270510" y="152400"/>
                  </a:lnTo>
                  <a:cubicBezTo>
                    <a:pt x="260985" y="163830"/>
                    <a:pt x="247650" y="170498"/>
                    <a:pt x="232410" y="171450"/>
                  </a:cubicBezTo>
                  <a:cubicBezTo>
                    <a:pt x="230505" y="171450"/>
                    <a:pt x="228600" y="171450"/>
                    <a:pt x="227648" y="171450"/>
                  </a:cubicBezTo>
                  <a:cubicBezTo>
                    <a:pt x="213360" y="171450"/>
                    <a:pt x="200025" y="166688"/>
                    <a:pt x="190500" y="157163"/>
                  </a:cubicBezTo>
                  <a:cubicBezTo>
                    <a:pt x="166688" y="136208"/>
                    <a:pt x="164783" y="100013"/>
                    <a:pt x="184785" y="76200"/>
                  </a:cubicBezTo>
                  <a:lnTo>
                    <a:pt x="240983" y="11430"/>
                  </a:lnTo>
                  <a:cubicBezTo>
                    <a:pt x="197167" y="5715"/>
                    <a:pt x="140970" y="28575"/>
                    <a:pt x="82868" y="0"/>
                  </a:cubicBezTo>
                  <a:lnTo>
                    <a:pt x="0" y="137160"/>
                  </a:lnTo>
                  <a:lnTo>
                    <a:pt x="64770" y="212408"/>
                  </a:lnTo>
                  <a:lnTo>
                    <a:pt x="89535" y="183833"/>
                  </a:lnTo>
                  <a:cubicBezTo>
                    <a:pt x="98108" y="173355"/>
                    <a:pt x="111443" y="167640"/>
                    <a:pt x="125730" y="167640"/>
                  </a:cubicBezTo>
                  <a:lnTo>
                    <a:pt x="125730" y="167640"/>
                  </a:lnTo>
                  <a:cubicBezTo>
                    <a:pt x="137160" y="167640"/>
                    <a:pt x="148590" y="171450"/>
                    <a:pt x="157163" y="179070"/>
                  </a:cubicBezTo>
                  <a:cubicBezTo>
                    <a:pt x="167640" y="187642"/>
                    <a:pt x="172403" y="200025"/>
                    <a:pt x="173355" y="213360"/>
                  </a:cubicBezTo>
                  <a:cubicBezTo>
                    <a:pt x="178117" y="211455"/>
                    <a:pt x="183833" y="210503"/>
                    <a:pt x="189548" y="210503"/>
                  </a:cubicBezTo>
                  <a:cubicBezTo>
                    <a:pt x="200978" y="210503"/>
                    <a:pt x="212408" y="214313"/>
                    <a:pt x="220980" y="221933"/>
                  </a:cubicBezTo>
                  <a:cubicBezTo>
                    <a:pt x="231458" y="231458"/>
                    <a:pt x="237173" y="243840"/>
                    <a:pt x="237173" y="257175"/>
                  </a:cubicBezTo>
                  <a:cubicBezTo>
                    <a:pt x="240983" y="256223"/>
                    <a:pt x="245745" y="255270"/>
                    <a:pt x="249555" y="255270"/>
                  </a:cubicBezTo>
                  <a:lnTo>
                    <a:pt x="249555" y="255270"/>
                  </a:lnTo>
                  <a:cubicBezTo>
                    <a:pt x="260033" y="255270"/>
                    <a:pt x="269558" y="259080"/>
                    <a:pt x="278130" y="265748"/>
                  </a:cubicBezTo>
                  <a:cubicBezTo>
                    <a:pt x="286703" y="273368"/>
                    <a:pt x="291465" y="283845"/>
                    <a:pt x="292418" y="295275"/>
                  </a:cubicBezTo>
                  <a:cubicBezTo>
                    <a:pt x="295275" y="294323"/>
                    <a:pt x="299085" y="293370"/>
                    <a:pt x="302895" y="293370"/>
                  </a:cubicBezTo>
                  <a:lnTo>
                    <a:pt x="302895" y="293370"/>
                  </a:lnTo>
                  <a:cubicBezTo>
                    <a:pt x="312420" y="293370"/>
                    <a:pt x="320993" y="296228"/>
                    <a:pt x="327660" y="302895"/>
                  </a:cubicBezTo>
                  <a:cubicBezTo>
                    <a:pt x="335280" y="309563"/>
                    <a:pt x="340043" y="319088"/>
                    <a:pt x="340995" y="328613"/>
                  </a:cubicBezTo>
                  <a:cubicBezTo>
                    <a:pt x="341948" y="339090"/>
                    <a:pt x="338138" y="348615"/>
                    <a:pt x="331470" y="356235"/>
                  </a:cubicBezTo>
                  <a:lnTo>
                    <a:pt x="299085" y="393382"/>
                  </a:lnTo>
                  <a:lnTo>
                    <a:pt x="312420" y="403860"/>
                  </a:lnTo>
                  <a:cubicBezTo>
                    <a:pt x="319088" y="407670"/>
                    <a:pt x="326708" y="410528"/>
                    <a:pt x="335280" y="409575"/>
                  </a:cubicBezTo>
                  <a:cubicBezTo>
                    <a:pt x="356235" y="407670"/>
                    <a:pt x="371475" y="389573"/>
                    <a:pt x="369570" y="368618"/>
                  </a:cubicBezTo>
                  <a:cubicBezTo>
                    <a:pt x="369570" y="368618"/>
                    <a:pt x="369570" y="367665"/>
                    <a:pt x="369570" y="367665"/>
                  </a:cubicBezTo>
                  <a:cubicBezTo>
                    <a:pt x="372428" y="368618"/>
                    <a:pt x="376238" y="368618"/>
                    <a:pt x="379095" y="368618"/>
                  </a:cubicBezTo>
                  <a:cubicBezTo>
                    <a:pt x="400050" y="366713"/>
                    <a:pt x="415290" y="348615"/>
                    <a:pt x="413385" y="327660"/>
                  </a:cubicBezTo>
                  <a:cubicBezTo>
                    <a:pt x="413385" y="327660"/>
                    <a:pt x="413385" y="326707"/>
                    <a:pt x="413385" y="326707"/>
                  </a:cubicBezTo>
                  <a:cubicBezTo>
                    <a:pt x="416243" y="327660"/>
                    <a:pt x="420053" y="327660"/>
                    <a:pt x="422910" y="327660"/>
                  </a:cubicBezTo>
                  <a:cubicBezTo>
                    <a:pt x="443865" y="325755"/>
                    <a:pt x="459105" y="307658"/>
                    <a:pt x="457200" y="286703"/>
                  </a:cubicBezTo>
                  <a:cubicBezTo>
                    <a:pt x="457200" y="284798"/>
                    <a:pt x="456248" y="282893"/>
                    <a:pt x="456248" y="280988"/>
                  </a:cubicBezTo>
                  <a:cubicBezTo>
                    <a:pt x="461963" y="283845"/>
                    <a:pt x="468630" y="285750"/>
                    <a:pt x="476250" y="284798"/>
                  </a:cubicBezTo>
                  <a:cubicBezTo>
                    <a:pt x="497205" y="282893"/>
                    <a:pt x="512445" y="264795"/>
                    <a:pt x="510540" y="243840"/>
                  </a:cubicBezTo>
                  <a:cubicBezTo>
                    <a:pt x="511493" y="233363"/>
                    <a:pt x="506730" y="224790"/>
                    <a:pt x="500063" y="218123"/>
                  </a:cubicBezTo>
                  <a:close/>
                </a:path>
              </a:pathLst>
            </a:custGeom>
            <a:grpFill/>
            <a:ln w="9525"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CF89985E-CB89-D0BB-7989-4CA484719E93}"/>
                </a:ext>
              </a:extLst>
            </p:cNvPr>
            <p:cNvSpPr/>
            <p:nvPr/>
          </p:nvSpPr>
          <p:spPr>
            <a:xfrm>
              <a:off x="6217291" y="2098920"/>
              <a:ext cx="142961" cy="164405"/>
            </a:xfrm>
            <a:custGeom>
              <a:avLst/>
              <a:gdLst>
                <a:gd name="connsiteX0" fmla="*/ 190575 w 190500"/>
                <a:gd name="connsiteY0" fmla="*/ 179070 h 219075"/>
                <a:gd name="connsiteX1" fmla="*/ 117232 w 190500"/>
                <a:gd name="connsiteY1" fmla="*/ 223838 h 219075"/>
                <a:gd name="connsiteX2" fmla="*/ 91515 w 190500"/>
                <a:gd name="connsiteY2" fmla="*/ 217170 h 219075"/>
                <a:gd name="connsiteX3" fmla="*/ 2932 w 190500"/>
                <a:gd name="connsiteY3" fmla="*/ 70485 h 219075"/>
                <a:gd name="connsiteX4" fmla="*/ 9600 w 190500"/>
                <a:gd name="connsiteY4" fmla="*/ 44768 h 219075"/>
                <a:gd name="connsiteX5" fmla="*/ 82942 w 190500"/>
                <a:gd name="connsiteY5" fmla="*/ 0 h 219075"/>
                <a:gd name="connsiteX6" fmla="*/ 190575 w 190500"/>
                <a:gd name="connsiteY6" fmla="*/ 179070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0" h="219075">
                  <a:moveTo>
                    <a:pt x="190575" y="179070"/>
                  </a:moveTo>
                  <a:lnTo>
                    <a:pt x="117232" y="223838"/>
                  </a:lnTo>
                  <a:cubicBezTo>
                    <a:pt x="108660" y="229553"/>
                    <a:pt x="96277" y="226695"/>
                    <a:pt x="91515" y="217170"/>
                  </a:cubicBezTo>
                  <a:lnTo>
                    <a:pt x="2932" y="70485"/>
                  </a:lnTo>
                  <a:cubicBezTo>
                    <a:pt x="-2783" y="61913"/>
                    <a:pt x="75" y="49530"/>
                    <a:pt x="9600" y="44768"/>
                  </a:cubicBezTo>
                  <a:lnTo>
                    <a:pt x="82942" y="0"/>
                  </a:lnTo>
                  <a:lnTo>
                    <a:pt x="190575" y="179070"/>
                  </a:lnTo>
                  <a:close/>
                </a:path>
              </a:pathLst>
            </a:custGeom>
            <a:grpFill/>
            <a:ln w="9525"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A145DE88-8800-4686-CD28-0F0566645914}"/>
                </a:ext>
              </a:extLst>
            </p:cNvPr>
            <p:cNvSpPr/>
            <p:nvPr/>
          </p:nvSpPr>
          <p:spPr>
            <a:xfrm>
              <a:off x="5969235" y="2156712"/>
              <a:ext cx="300217" cy="164405"/>
            </a:xfrm>
            <a:custGeom>
              <a:avLst/>
              <a:gdLst>
                <a:gd name="connsiteX0" fmla="*/ 322045 w 400050"/>
                <a:gd name="connsiteY0" fmla="*/ 12524 h 219075"/>
                <a:gd name="connsiteX1" fmla="*/ 122020 w 400050"/>
                <a:gd name="connsiteY1" fmla="*/ 1094 h 219075"/>
                <a:gd name="connsiteX2" fmla="*/ 117258 w 400050"/>
                <a:gd name="connsiteY2" fmla="*/ 142 h 219075"/>
                <a:gd name="connsiteX3" fmla="*/ 84873 w 400050"/>
                <a:gd name="connsiteY3" fmla="*/ 12524 h 219075"/>
                <a:gd name="connsiteX4" fmla="*/ 9625 w 400050"/>
                <a:gd name="connsiteY4" fmla="*/ 98249 h 219075"/>
                <a:gd name="connsiteX5" fmla="*/ 13435 w 400050"/>
                <a:gd name="connsiteY5" fmla="*/ 151589 h 219075"/>
                <a:gd name="connsiteX6" fmla="*/ 42010 w 400050"/>
                <a:gd name="connsiteY6" fmla="*/ 161114 h 219075"/>
                <a:gd name="connsiteX7" fmla="*/ 67728 w 400050"/>
                <a:gd name="connsiteY7" fmla="*/ 147779 h 219075"/>
                <a:gd name="connsiteX8" fmla="*/ 145833 w 400050"/>
                <a:gd name="connsiteY8" fmla="*/ 58244 h 219075"/>
                <a:gd name="connsiteX9" fmla="*/ 323950 w 400050"/>
                <a:gd name="connsiteY9" fmla="*/ 211597 h 219075"/>
                <a:gd name="connsiteX10" fmla="*/ 323950 w 400050"/>
                <a:gd name="connsiteY10" fmla="*/ 211597 h 219075"/>
                <a:gd name="connsiteX11" fmla="*/ 323950 w 400050"/>
                <a:gd name="connsiteY11" fmla="*/ 211597 h 219075"/>
                <a:gd name="connsiteX12" fmla="*/ 334428 w 400050"/>
                <a:gd name="connsiteY12" fmla="*/ 223979 h 219075"/>
                <a:gd name="connsiteX13" fmla="*/ 403008 w 400050"/>
                <a:gd name="connsiteY13" fmla="*/ 144922 h 219075"/>
                <a:gd name="connsiteX14" fmla="*/ 322045 w 400050"/>
                <a:gd name="connsiteY14" fmla="*/ 12524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0050" h="219075">
                  <a:moveTo>
                    <a:pt x="322045" y="12524"/>
                  </a:moveTo>
                  <a:cubicBezTo>
                    <a:pt x="242988" y="41099"/>
                    <a:pt x="185838" y="13477"/>
                    <a:pt x="122020" y="1094"/>
                  </a:cubicBezTo>
                  <a:cubicBezTo>
                    <a:pt x="121068" y="1094"/>
                    <a:pt x="117258" y="142"/>
                    <a:pt x="117258" y="142"/>
                  </a:cubicBezTo>
                  <a:cubicBezTo>
                    <a:pt x="105828" y="-811"/>
                    <a:pt x="93445" y="2999"/>
                    <a:pt x="84873" y="12524"/>
                  </a:cubicBezTo>
                  <a:lnTo>
                    <a:pt x="9625" y="98249"/>
                  </a:lnTo>
                  <a:cubicBezTo>
                    <a:pt x="-4662" y="114442"/>
                    <a:pt x="-2757" y="138254"/>
                    <a:pt x="13435" y="151589"/>
                  </a:cubicBezTo>
                  <a:cubicBezTo>
                    <a:pt x="22008" y="158257"/>
                    <a:pt x="31533" y="162067"/>
                    <a:pt x="42010" y="161114"/>
                  </a:cubicBezTo>
                  <a:cubicBezTo>
                    <a:pt x="51535" y="160162"/>
                    <a:pt x="61060" y="156352"/>
                    <a:pt x="67728" y="147779"/>
                  </a:cubicBezTo>
                  <a:cubicBezTo>
                    <a:pt x="67728" y="147779"/>
                    <a:pt x="145833" y="58244"/>
                    <a:pt x="145833" y="58244"/>
                  </a:cubicBezTo>
                  <a:lnTo>
                    <a:pt x="323950" y="211597"/>
                  </a:lnTo>
                  <a:lnTo>
                    <a:pt x="323950" y="211597"/>
                  </a:lnTo>
                  <a:lnTo>
                    <a:pt x="323950" y="211597"/>
                  </a:lnTo>
                  <a:cubicBezTo>
                    <a:pt x="328713" y="216359"/>
                    <a:pt x="330618" y="218264"/>
                    <a:pt x="334428" y="223979"/>
                  </a:cubicBezTo>
                  <a:lnTo>
                    <a:pt x="403008" y="144922"/>
                  </a:lnTo>
                  <a:lnTo>
                    <a:pt x="322045" y="12524"/>
                  </a:lnTo>
                  <a:close/>
                </a:path>
              </a:pathLst>
            </a:custGeom>
            <a:grpFill/>
            <a:ln w="9525" cap="flat">
              <a:noFill/>
              <a:prstDash val="solid"/>
              <a:miter/>
            </a:ln>
          </p:spPr>
          <p:txBody>
            <a:bodyPr rtlCol="0" anchor="ctr"/>
            <a:lstStyle/>
            <a:p>
              <a:endParaRPr lang="en-US"/>
            </a:p>
          </p:txBody>
        </p:sp>
      </p:grpSp>
      <p:pic>
        <p:nvPicPr>
          <p:cNvPr id="87" name="Graphic 86" descr="Magnifying glass">
            <a:extLst>
              <a:ext uri="{FF2B5EF4-FFF2-40B4-BE49-F238E27FC236}">
                <a16:creationId xmlns:a16="http://schemas.microsoft.com/office/drawing/2014/main" id="{46F7FEC2-D628-CD3F-CA68-B0DE1E84353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531412" y="1581121"/>
            <a:ext cx="535252" cy="535252"/>
          </a:xfrm>
          <a:prstGeom prst="rect">
            <a:avLst/>
          </a:prstGeom>
        </p:spPr>
      </p:pic>
    </p:spTree>
    <p:extLst>
      <p:ext uri="{BB962C8B-B14F-4D97-AF65-F5344CB8AC3E}">
        <p14:creationId xmlns:p14="http://schemas.microsoft.com/office/powerpoint/2010/main" val="3809375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IAAAAAAAAAAwAAAAMAAAAA/////wQAPwwAAAAAAAAAAAAAIAD///////////////8AAAD///////////////8DAAAAAwD///////8DAAAAAgD///////////////////////////////////////////////////////////////////////////////////////////////////////////////////////////////////////////////////////////////////////////////////////////////////////////////////////////////////////////////////////////////////////////////////////////////////////////////////////////////////////////////////////////////////////////////////////////////////////////////////////////////////////////////////////////////////////////////////////////////8BACAA////////////////AAAO////////AwAAAAIA////////////////////////////////////////////////////////////////////////////////////////////////////////////////////////////////////////////////////////////////////////////////////////////////////////////////////////////////////////////////////////////////////////////////////////////////////////////////////////////////////////////////////////////////////////////////////////////////////////////////////////////////////////////////////////////////////////////////////////////////////////////////////////AgACAP///////wQAAAACABAACzjTFU/jRz1MrcMIBHGc0CgFAAAAAAADAAAAAwADAAAAAQADAAAAAAD///////8DAAEA////////BAAAAAMAEAAL9OwLM1ufBUKLMXCAzQ5rfQ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DjTFU/jRz1MrcMIBHGc0CgDRGF0YQAbAAAABExpbmtlZFNoYXBlRGF0YQAFAAAAAAACTmFtZQAZAAAATGlua2VkU2hhcGVzRGF0YVByb3BlcnR5ABBWZXJzaW9uAAAAAAAJTGFzdFdyaXRlAJQ/EtqCAQAAAAEA/////8YAxgAAAAVfaWQAEAAAAAT07AszW58FQosxcIDNDmt9A0RhdGEAUwAAAAhQcmVzZW50YXRpb25TY2FubmVkRm9yTGlua2VkU2hhcGVzAAECTnVtYmVyRm9ybWF0U2VwYXJhdG9yTW9kZQAKAAAAQXV0b21hdGljAAACTmFtZQAkAAAATGlua2VkU2hhcGVQcmVzZW50YXRpb25TZXR0aW5nc0RhdGEAEFZlcnNpb24AAAAAAAlMYXN0V3JpdGUAAkAS2o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7971128053986308"/>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f32f6873-1aa4-4d26-a0c7-a3960c3bb4e9">
      <Terms xmlns="http://schemas.microsoft.com/office/infopath/2007/PartnerControls"/>
    </lcf76f155ced4ddcb4097134ff3c332f>
    <TaxCatchAll xmlns="e14d3c4a-5e2e-4f48-944e-caacf7162ad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3526D919EA5444E9545B77355520F11" ma:contentTypeVersion="16" ma:contentTypeDescription="Create a new document." ma:contentTypeScope="" ma:versionID="d265b2501487063ae14ed0c38265f234">
  <xsd:schema xmlns:xsd="http://www.w3.org/2001/XMLSchema" xmlns:xs="http://www.w3.org/2001/XMLSchema" xmlns:p="http://schemas.microsoft.com/office/2006/metadata/properties" xmlns:ns2="f32f6873-1aa4-4d26-a0c7-a3960c3bb4e9" xmlns:ns3="e14d3c4a-5e2e-4f48-944e-caacf7162ad4" targetNamespace="http://schemas.microsoft.com/office/2006/metadata/properties" ma:root="true" ma:fieldsID="76f1918e02f1a0f9cff113be2f06c1c8" ns2:_="" ns3:_="">
    <xsd:import namespace="f32f6873-1aa4-4d26-a0c7-a3960c3bb4e9"/>
    <xsd:import namespace="e14d3c4a-5e2e-4f48-944e-caacf7162ad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LengthInSecond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32f6873-1aa4-4d26-a0c7-a3960c3bb4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9247bebf-ce0e-4fa1-bae7-748a1283d6fa"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14d3c4a-5e2e-4f48-944e-caacf7162ad4"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755b10ea-162b-4c34-84d1-6114634191f0}" ma:internalName="TaxCatchAll" ma:showField="CatchAllData" ma:web="e14d3c4a-5e2e-4f48-944e-caacf7162ad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C0D705B-2A79-4E66-B9E1-359EFF171C8A}">
  <ds:schemaRefs>
    <ds:schemaRef ds:uri="http://schemas.microsoft.com/sharepoint/v3/contenttype/forms"/>
  </ds:schemaRefs>
</ds:datastoreItem>
</file>

<file path=customXml/itemProps2.xml><?xml version="1.0" encoding="utf-8"?>
<ds:datastoreItem xmlns:ds="http://schemas.openxmlformats.org/officeDocument/2006/customXml" ds:itemID="{4E1D89C0-71CE-4C4C-9A9E-645B49A5EF87}">
  <ds:schemaRefs>
    <ds:schemaRef ds:uri="http://purl.org/dc/elements/1.1/"/>
    <ds:schemaRef ds:uri="http://www.w3.org/XML/1998/namespace"/>
    <ds:schemaRef ds:uri="http://schemas.microsoft.com/office/infopath/2007/PartnerControls"/>
    <ds:schemaRef ds:uri="http://purl.org/dc/terms/"/>
    <ds:schemaRef ds:uri="http://schemas.microsoft.com/office/2006/metadata/properties"/>
    <ds:schemaRef ds:uri="e14d3c4a-5e2e-4f48-944e-caacf7162ad4"/>
    <ds:schemaRef ds:uri="http://schemas.microsoft.com/office/2006/documentManagement/types"/>
    <ds:schemaRef ds:uri="f32f6873-1aa4-4d26-a0c7-a3960c3bb4e9"/>
    <ds:schemaRef ds:uri="http://schemas.openxmlformats.org/package/2006/metadata/core-properties"/>
    <ds:schemaRef ds:uri="http://purl.org/dc/dcmitype/"/>
  </ds:schemaRefs>
</ds:datastoreItem>
</file>

<file path=customXml/itemProps3.xml><?xml version="1.0" encoding="utf-8"?>
<ds:datastoreItem xmlns:ds="http://schemas.openxmlformats.org/officeDocument/2006/customXml" ds:itemID="{94A79EBA-254A-4D38-8AE5-CF435206F5C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32f6873-1aa4-4d26-a0c7-a3960c3bb4e9"/>
    <ds:schemaRef ds:uri="e14d3c4a-5e2e-4f48-944e-caacf7162ad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5115</TotalTime>
  <Words>1644</Words>
  <Application>Microsoft Office PowerPoint</Application>
  <PresentationFormat>Widescreen</PresentationFormat>
  <Paragraphs>204</Paragraphs>
  <Slides>15</Slides>
  <Notes>3</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5</vt:i4>
      </vt:variant>
    </vt:vector>
  </HeadingPairs>
  <TitlesOfParts>
    <vt:vector size="22" baseType="lpstr">
      <vt:lpstr>Arial</vt:lpstr>
      <vt:lpstr>Calibri</vt:lpstr>
      <vt:lpstr>Calibri Light</vt:lpstr>
      <vt:lpstr>Encode Sans</vt:lpstr>
      <vt:lpstr>Roboto</vt:lpstr>
      <vt:lpstr>Wingdings</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SS Awareness &amp; Guidelines</dc:title>
  <dc:subject>FOSS</dc:subject>
  <dc:creator>Badal Kumar Jena</dc:creator>
  <cp:keywords>FOSS Office;FOSS Awareness</cp:keywords>
  <cp:lastModifiedBy>Sadhana Swain</cp:lastModifiedBy>
  <cp:revision>54</cp:revision>
  <dcterms:created xsi:type="dcterms:W3CDTF">2022-07-26T12:24:56Z</dcterms:created>
  <dcterms:modified xsi:type="dcterms:W3CDTF">2024-09-25T01:42: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3526D919EA5444E9545B77355520F11</vt:lpwstr>
  </property>
  <property fmtid="{D5CDD505-2E9C-101B-9397-08002B2CF9AE}" pid="3" name="MediaServiceImageTags">
    <vt:lpwstr/>
  </property>
  <property fmtid="{D5CDD505-2E9C-101B-9397-08002B2CF9AE}" pid="4" name="MSIP_Label_2fd53d93-3f4c-4b90-b511-bd6bdbb4fba9_Enabled">
    <vt:lpwstr>true</vt:lpwstr>
  </property>
  <property fmtid="{D5CDD505-2E9C-101B-9397-08002B2CF9AE}" pid="5" name="MSIP_Label_2fd53d93-3f4c-4b90-b511-bd6bdbb4fba9_SetDate">
    <vt:lpwstr>2022-09-21T13:10:16Z</vt:lpwstr>
  </property>
  <property fmtid="{D5CDD505-2E9C-101B-9397-08002B2CF9AE}" pid="6" name="MSIP_Label_2fd53d93-3f4c-4b90-b511-bd6bdbb4fba9_Method">
    <vt:lpwstr>Standard</vt:lpwstr>
  </property>
  <property fmtid="{D5CDD505-2E9C-101B-9397-08002B2CF9AE}" pid="7" name="MSIP_Label_2fd53d93-3f4c-4b90-b511-bd6bdbb4fba9_Name">
    <vt:lpwstr>2fd53d93-3f4c-4b90-b511-bd6bdbb4fba9</vt:lpwstr>
  </property>
  <property fmtid="{D5CDD505-2E9C-101B-9397-08002B2CF9AE}" pid="8" name="MSIP_Label_2fd53d93-3f4c-4b90-b511-bd6bdbb4fba9_SiteId">
    <vt:lpwstr>d852d5cd-724c-4128-8812-ffa5db3f8507</vt:lpwstr>
  </property>
  <property fmtid="{D5CDD505-2E9C-101B-9397-08002B2CF9AE}" pid="9" name="MSIP_Label_2fd53d93-3f4c-4b90-b511-bd6bdbb4fba9_ActionId">
    <vt:lpwstr>abde221f-0596-4c1c-ad23-c67c43a414a6</vt:lpwstr>
  </property>
  <property fmtid="{D5CDD505-2E9C-101B-9397-08002B2CF9AE}" pid="10" name="MSIP_Label_2fd53d93-3f4c-4b90-b511-bd6bdbb4fba9_ContentBits">
    <vt:lpwstr>0</vt:lpwstr>
  </property>
</Properties>
</file>